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2" r:id="rId2"/>
  </p:sldMasterIdLst>
  <p:notesMasterIdLst>
    <p:notesMasterId r:id="rId6"/>
  </p:notesMasterIdLst>
  <p:sldIdLst>
    <p:sldId id="263" r:id="rId3"/>
    <p:sldId id="256" r:id="rId4"/>
    <p:sldId id="257" r:id="rId5"/>
  </p:sldIdLst>
  <p:sldSz cx="9144000" cy="6858000" type="screen4x3"/>
  <p:notesSz cx="7010400" cy="92964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8D1B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EB9631B5-78F2-41C9-869B-9F39066F8104}" styleName="Medium Style 3 - 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AF606853-7671-496A-8E4F-DF71F8EC918B}" styleName="Dark Style 1 - Accent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46F890A9-2807-4EBB-B81D-B2AA78EC7F39}" styleName="Dark Style 2 - Accent 5/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61" autoAdjust="0"/>
    <p:restoredTop sz="94660"/>
  </p:normalViewPr>
  <p:slideViewPr>
    <p:cSldViewPr snapToGrid="0">
      <p:cViewPr>
        <p:scale>
          <a:sx n="100" d="100"/>
          <a:sy n="100" d="100"/>
        </p:scale>
        <p:origin x="540" y="-113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0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FC3A694C-8002-4924-A07D-671FDA6EEACB}" type="datetimeFigureOut">
              <a:rPr lang="en-US" smtClean="0"/>
              <a:t>9/10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414463" y="1162050"/>
            <a:ext cx="4181475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8D8115EA-6840-4737-975C-A9C6FCB68D1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21218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5468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15469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altLang="en-US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png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png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png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png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png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png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png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CEBDA4-4A1E-4060-A462-16B3F6B1118D}" type="datetime9">
              <a:rPr lang="en-US" smtClean="0"/>
              <a:t>9/10/2019 8:35:51 AM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41CDB6-91B1-401D-BCBB-B5223F0FB40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03165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8F2060-EFFF-49B7-A155-1C64F7D9768C}" type="datetime9">
              <a:rPr lang="en-US" smtClean="0"/>
              <a:t>9/10/2019 8:35:51 AM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41CDB6-91B1-401D-BCBB-B5223F0FB40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509848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BC52BC-AC57-4080-9052-244E45B649CD}" type="datetime9">
              <a:rPr lang="en-US" smtClean="0"/>
              <a:t>9/10/2019 8:35:51 AM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41CDB6-91B1-401D-BCBB-B5223F0FB40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76514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long_powerstrips.gif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228600" y="6324600"/>
            <a:ext cx="8686800" cy="403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Freeform 10"/>
          <p:cNvSpPr>
            <a:spLocks/>
          </p:cNvSpPr>
          <p:nvPr/>
        </p:nvSpPr>
        <p:spPr bwMode="auto">
          <a:xfrm>
            <a:off x="228600" y="228600"/>
            <a:ext cx="8686800" cy="5943600"/>
          </a:xfrm>
          <a:custGeom>
            <a:avLst/>
            <a:gdLst>
              <a:gd name="T0" fmla="*/ 0 w 5376"/>
              <a:gd name="T1" fmla="*/ 0 h 3474"/>
              <a:gd name="T2" fmla="*/ 0 w 5376"/>
              <a:gd name="T3" fmla="*/ 2147483647 h 3474"/>
              <a:gd name="T4" fmla="*/ 2147483647 w 5376"/>
              <a:gd name="T5" fmla="*/ 2147483647 h 3474"/>
              <a:gd name="T6" fmla="*/ 2147483647 w 5376"/>
              <a:gd name="T7" fmla="*/ 2147483647 h 3474"/>
              <a:gd name="T8" fmla="*/ 2147483647 w 5376"/>
              <a:gd name="T9" fmla="*/ 2147483647 h 3474"/>
              <a:gd name="T10" fmla="*/ 2147483647 w 5376"/>
              <a:gd name="T11" fmla="*/ 2147483647 h 3474"/>
              <a:gd name="T12" fmla="*/ 2147483647 w 5376"/>
              <a:gd name="T13" fmla="*/ 0 h 3474"/>
              <a:gd name="T14" fmla="*/ 0 w 5376"/>
              <a:gd name="T15" fmla="*/ 0 h 3474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5376" h="3474">
                <a:moveTo>
                  <a:pt x="0" y="0"/>
                </a:moveTo>
                <a:lnTo>
                  <a:pt x="0" y="3474"/>
                </a:lnTo>
                <a:lnTo>
                  <a:pt x="941" y="3474"/>
                </a:lnTo>
                <a:lnTo>
                  <a:pt x="1081" y="3474"/>
                </a:lnTo>
                <a:lnTo>
                  <a:pt x="1210" y="3474"/>
                </a:lnTo>
                <a:lnTo>
                  <a:pt x="5376" y="3474"/>
                </a:lnTo>
                <a:lnTo>
                  <a:pt x="5376" y="0"/>
                </a:lnTo>
                <a:lnTo>
                  <a:pt x="0" y="0"/>
                </a:lnTo>
                <a:close/>
              </a:path>
            </a:pathLst>
          </a:custGeom>
          <a:solidFill>
            <a:srgbClr val="260F54"/>
          </a:solidFill>
          <a:ln>
            <a:noFill/>
          </a:ln>
          <a:effectLst/>
          <a:extLst/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srgbClr val="0059B4"/>
              </a:solidFill>
            </a:endParaRPr>
          </a:p>
        </p:txBody>
      </p:sp>
      <p:sp>
        <p:nvSpPr>
          <p:cNvPr id="6" name="Line 7"/>
          <p:cNvSpPr>
            <a:spLocks noChangeShapeType="1"/>
          </p:cNvSpPr>
          <p:nvPr/>
        </p:nvSpPr>
        <p:spPr bwMode="auto">
          <a:xfrm flipH="1" flipV="1">
            <a:off x="685800" y="2971800"/>
            <a:ext cx="457200" cy="34290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 type="triangle" w="med" len="med"/>
          </a:ln>
          <a:effectLst/>
          <a:extLst/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srgbClr val="0059B4"/>
              </a:solidFill>
            </a:endParaRPr>
          </a:p>
        </p:txBody>
      </p:sp>
      <p:sp>
        <p:nvSpPr>
          <p:cNvPr id="7" name="Line 8"/>
          <p:cNvSpPr>
            <a:spLocks noChangeShapeType="1"/>
          </p:cNvSpPr>
          <p:nvPr/>
        </p:nvSpPr>
        <p:spPr bwMode="auto">
          <a:xfrm>
            <a:off x="2400300" y="4343400"/>
            <a:ext cx="457200" cy="34290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 type="triangle" w="med" len="med"/>
          </a:ln>
          <a:effectLst/>
          <a:extLst/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srgbClr val="0059B4"/>
              </a:solidFill>
            </a:endParaRPr>
          </a:p>
        </p:txBody>
      </p:sp>
      <p:sp>
        <p:nvSpPr>
          <p:cNvPr id="8" name="Line 9"/>
          <p:cNvSpPr>
            <a:spLocks noChangeShapeType="1"/>
          </p:cNvSpPr>
          <p:nvPr/>
        </p:nvSpPr>
        <p:spPr bwMode="auto">
          <a:xfrm flipH="1">
            <a:off x="685800" y="4343400"/>
            <a:ext cx="457200" cy="34290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 type="triangle" w="med" len="med"/>
          </a:ln>
          <a:effectLst/>
          <a:extLst/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srgbClr val="0059B4"/>
              </a:solidFill>
            </a:endParaRPr>
          </a:p>
        </p:txBody>
      </p:sp>
      <p:sp>
        <p:nvSpPr>
          <p:cNvPr id="9" name="Line 10"/>
          <p:cNvSpPr>
            <a:spLocks noChangeShapeType="1"/>
          </p:cNvSpPr>
          <p:nvPr/>
        </p:nvSpPr>
        <p:spPr bwMode="auto">
          <a:xfrm flipV="1">
            <a:off x="2400300" y="2971800"/>
            <a:ext cx="457200" cy="34290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 type="triangle" w="med" len="med"/>
          </a:ln>
          <a:effectLst/>
          <a:extLst/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srgbClr val="0059B4"/>
              </a:solidFill>
            </a:endParaRPr>
          </a:p>
        </p:txBody>
      </p:sp>
      <p:sp>
        <p:nvSpPr>
          <p:cNvPr id="10" name="Text Box 7"/>
          <p:cNvSpPr txBox="1">
            <a:spLocks noChangeArrowheads="1"/>
          </p:cNvSpPr>
          <p:nvPr/>
        </p:nvSpPr>
        <p:spPr bwMode="auto">
          <a:xfrm>
            <a:off x="1028700" y="3216275"/>
            <a:ext cx="1439863" cy="1241425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lIns="18000" tIns="10800" rIns="18000" bIns="10800">
            <a:spAutoFit/>
          </a:bodyPr>
          <a:lstStyle>
            <a:lvl1pPr eaLnBrk="0" hangingPunct="0">
              <a:defRPr>
                <a:solidFill>
                  <a:srgbClr val="0059B4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rgbClr val="0059B4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rgbClr val="0059B4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rgbClr val="0059B4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rgbClr val="0059B4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59B4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59B4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59B4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59B4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dirty="0">
                <a:solidFill>
                  <a:srgbClr val="646B86"/>
                </a:solidFill>
              </a:rPr>
              <a:t>Place your chosen image here. The four corners must just cover the arrow tips. For covers, the three pictures should be the same size and in a straight line.   </a:t>
            </a:r>
            <a:endParaRPr lang="en-US" sz="2800" b="1" dirty="0">
              <a:solidFill>
                <a:srgbClr val="0079C1"/>
              </a:solidFill>
            </a:endParaRPr>
          </a:p>
        </p:txBody>
      </p:sp>
      <p:pic>
        <p:nvPicPr>
          <p:cNvPr id="11" name="Picture 12"/>
          <p:cNvPicPr>
            <a:picLocks noChangeAspect="1" noChangeArrowheads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6705600" y="457200"/>
            <a:ext cx="1955800" cy="739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2773" name="Rectangle 5"/>
          <p:cNvSpPr>
            <a:spLocks noGrp="1" noChangeArrowheads="1"/>
          </p:cNvSpPr>
          <p:nvPr>
            <p:ph type="ctrTitle" sz="quarter"/>
          </p:nvPr>
        </p:nvSpPr>
        <p:spPr>
          <a:xfrm>
            <a:off x="609600" y="1752600"/>
            <a:ext cx="8043863" cy="639763"/>
          </a:xfrm>
          <a:prstGeom prst="rect">
            <a:avLst/>
          </a:prstGeom>
          <a:extLst/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32774" name="Rectangle 6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571500" y="5164138"/>
            <a:ext cx="8043863" cy="503237"/>
          </a:xfrm>
          <a:prstGeom prst="rect">
            <a:avLst/>
          </a:prstGeom>
          <a:extLst/>
        </p:spPr>
        <p:txBody>
          <a:bodyPr/>
          <a:lstStyle>
            <a:lvl1pPr marL="0" indent="0">
              <a:spcBef>
                <a:spcPct val="20000"/>
              </a:spcBef>
              <a:spcAft>
                <a:spcPct val="0"/>
              </a:spcAft>
              <a:buFont typeface="Wingdings" pitchFamily="2" charset="2"/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sp>
        <p:nvSpPr>
          <p:cNvPr id="12" name="Rectangle 3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</p:spPr>
        <p:txBody>
          <a:bodyPr/>
          <a:lstStyle>
            <a:lvl1pPr algn="ctr">
              <a:defRPr sz="1400">
                <a:latin typeface="Arial" pitchFamily="34" charset="0"/>
                <a:ea typeface="MS PGothic" pitchFamily="34" charset="-128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E57FE169-72A0-48D0-995C-FDBAA426B4C2}" type="slidenum">
              <a:rPr lang="en-US">
                <a:solidFill>
                  <a:srgbClr val="0059B4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solidFill>
                <a:srgbClr val="0059B4"/>
              </a:solidFill>
            </a:endParaRP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4F0F81D7-921C-4D8F-918A-2CE929B349C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190875" y="3216275"/>
            <a:ext cx="3179763" cy="1355725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 marL="457200" indent="0">
              <a:buNone/>
              <a:defRPr/>
            </a:lvl2pPr>
          </a:lstStyle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4949663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4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2" descr="long_powerstrips.gif"/>
          <p:cNvPicPr>
            <a:picLocks noChangeAspect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88900" y="6362700"/>
            <a:ext cx="8966200" cy="403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Freeform 8"/>
          <p:cNvSpPr>
            <a:spLocks/>
          </p:cNvSpPr>
          <p:nvPr userDrawn="1"/>
        </p:nvSpPr>
        <p:spPr bwMode="auto">
          <a:xfrm>
            <a:off x="88900" y="114300"/>
            <a:ext cx="8966200" cy="711200"/>
          </a:xfrm>
          <a:custGeom>
            <a:avLst/>
            <a:gdLst>
              <a:gd name="T0" fmla="*/ 0 w 5376"/>
              <a:gd name="T1" fmla="*/ 0 h 3474"/>
              <a:gd name="T2" fmla="*/ 0 w 5376"/>
              <a:gd name="T3" fmla="*/ 2147483647 h 3474"/>
              <a:gd name="T4" fmla="*/ 2147483647 w 5376"/>
              <a:gd name="T5" fmla="*/ 2147483647 h 3474"/>
              <a:gd name="T6" fmla="*/ 2147483647 w 5376"/>
              <a:gd name="T7" fmla="*/ 2147483647 h 3474"/>
              <a:gd name="T8" fmla="*/ 2147483647 w 5376"/>
              <a:gd name="T9" fmla="*/ 2147483647 h 3474"/>
              <a:gd name="T10" fmla="*/ 2147483647 w 5376"/>
              <a:gd name="T11" fmla="*/ 2147483647 h 3474"/>
              <a:gd name="T12" fmla="*/ 2147483647 w 5376"/>
              <a:gd name="T13" fmla="*/ 0 h 3474"/>
              <a:gd name="T14" fmla="*/ 0 w 5376"/>
              <a:gd name="T15" fmla="*/ 0 h 3474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5376" h="3474">
                <a:moveTo>
                  <a:pt x="0" y="0"/>
                </a:moveTo>
                <a:lnTo>
                  <a:pt x="0" y="3474"/>
                </a:lnTo>
                <a:lnTo>
                  <a:pt x="941" y="3474"/>
                </a:lnTo>
                <a:lnTo>
                  <a:pt x="1081" y="3474"/>
                </a:lnTo>
                <a:lnTo>
                  <a:pt x="1210" y="3474"/>
                </a:lnTo>
                <a:lnTo>
                  <a:pt x="5376" y="3474"/>
                </a:lnTo>
                <a:lnTo>
                  <a:pt x="5376" y="0"/>
                </a:lnTo>
                <a:lnTo>
                  <a:pt x="0" y="0"/>
                </a:lnTo>
                <a:close/>
              </a:path>
            </a:pathLst>
          </a:custGeom>
          <a:solidFill>
            <a:srgbClr val="260F54"/>
          </a:solidFill>
          <a:ln>
            <a:noFill/>
          </a:ln>
          <a:effectLst/>
          <a:extLst/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srgbClr val="0059B4"/>
              </a:solidFill>
            </a:endParaRPr>
          </a:p>
        </p:txBody>
      </p:sp>
      <p:pic>
        <p:nvPicPr>
          <p:cNvPr id="7" name="Picture 9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6997700" y="142875"/>
            <a:ext cx="1803400" cy="682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3725" y="762000"/>
            <a:ext cx="8093075" cy="51911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93725" y="1485900"/>
            <a:ext cx="8089900" cy="4648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Rectangle 2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 algn="ctr">
              <a:defRPr>
                <a:latin typeface="Arial" pitchFamily="34" charset="0"/>
                <a:ea typeface="MS PGothic" pitchFamily="34" charset="-128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75AB4F2-C1F8-4111-A623-CE5443752B5D}" type="datetime9">
              <a:rPr lang="en-US" smtClean="0">
                <a:solidFill>
                  <a:srgbClr val="0059B4"/>
                </a:solidFill>
              </a:rPr>
              <a:t>9/10/2019 8:35:51 AM</a:t>
            </a:fld>
            <a:endParaRPr lang="en-US" dirty="0">
              <a:solidFill>
                <a:srgbClr val="0059B4"/>
              </a:solidFill>
            </a:endParaRPr>
          </a:p>
        </p:txBody>
      </p:sp>
      <p:sp>
        <p:nvSpPr>
          <p:cNvPr id="9" name="Rectangle 3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0059B4"/>
              </a:solidFill>
            </a:endParaRPr>
          </a:p>
        </p:txBody>
      </p:sp>
      <p:sp>
        <p:nvSpPr>
          <p:cNvPr id="10" name="Rectangle 4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781800" y="6381750"/>
            <a:ext cx="2133600" cy="361950"/>
          </a:xfrm>
          <a:prstGeom prst="rect">
            <a:avLst/>
          </a:prstGeom>
        </p:spPr>
        <p:txBody>
          <a:bodyPr/>
          <a:lstStyle>
            <a:lvl1pPr algn="ctr">
              <a:defRPr>
                <a:latin typeface="Arial" pitchFamily="34" charset="0"/>
                <a:ea typeface="MS PGothic" pitchFamily="34" charset="-128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FE4C269E-E084-4B7A-962F-AA53F08611B4}" type="slidenum">
              <a:rPr lang="en-US">
                <a:solidFill>
                  <a:srgbClr val="0059B4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solidFill>
                <a:srgbClr val="0059B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612789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4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2" descr="long_powerstrips.gif"/>
          <p:cNvPicPr>
            <a:picLocks noChangeAspect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88900" y="6362700"/>
            <a:ext cx="8966200" cy="403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Freeform 8"/>
          <p:cNvSpPr>
            <a:spLocks/>
          </p:cNvSpPr>
          <p:nvPr userDrawn="1"/>
        </p:nvSpPr>
        <p:spPr bwMode="auto">
          <a:xfrm>
            <a:off x="88900" y="114300"/>
            <a:ext cx="8966200" cy="711200"/>
          </a:xfrm>
          <a:custGeom>
            <a:avLst/>
            <a:gdLst>
              <a:gd name="T0" fmla="*/ 0 w 5376"/>
              <a:gd name="T1" fmla="*/ 0 h 3474"/>
              <a:gd name="T2" fmla="*/ 0 w 5376"/>
              <a:gd name="T3" fmla="*/ 2147483647 h 3474"/>
              <a:gd name="T4" fmla="*/ 2147483647 w 5376"/>
              <a:gd name="T5" fmla="*/ 2147483647 h 3474"/>
              <a:gd name="T6" fmla="*/ 2147483647 w 5376"/>
              <a:gd name="T7" fmla="*/ 2147483647 h 3474"/>
              <a:gd name="T8" fmla="*/ 2147483647 w 5376"/>
              <a:gd name="T9" fmla="*/ 2147483647 h 3474"/>
              <a:gd name="T10" fmla="*/ 2147483647 w 5376"/>
              <a:gd name="T11" fmla="*/ 2147483647 h 3474"/>
              <a:gd name="T12" fmla="*/ 2147483647 w 5376"/>
              <a:gd name="T13" fmla="*/ 0 h 3474"/>
              <a:gd name="T14" fmla="*/ 0 w 5376"/>
              <a:gd name="T15" fmla="*/ 0 h 3474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5376" h="3474">
                <a:moveTo>
                  <a:pt x="0" y="0"/>
                </a:moveTo>
                <a:lnTo>
                  <a:pt x="0" y="3474"/>
                </a:lnTo>
                <a:lnTo>
                  <a:pt x="941" y="3474"/>
                </a:lnTo>
                <a:lnTo>
                  <a:pt x="1081" y="3474"/>
                </a:lnTo>
                <a:lnTo>
                  <a:pt x="1210" y="3474"/>
                </a:lnTo>
                <a:lnTo>
                  <a:pt x="5376" y="3474"/>
                </a:lnTo>
                <a:lnTo>
                  <a:pt x="5376" y="0"/>
                </a:lnTo>
                <a:lnTo>
                  <a:pt x="0" y="0"/>
                </a:lnTo>
                <a:close/>
              </a:path>
            </a:pathLst>
          </a:custGeom>
          <a:solidFill>
            <a:srgbClr val="260F54"/>
          </a:solidFill>
          <a:ln>
            <a:noFill/>
          </a:ln>
          <a:effectLst/>
          <a:extLst/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srgbClr val="0059B4"/>
              </a:solidFill>
            </a:endParaRPr>
          </a:p>
        </p:txBody>
      </p:sp>
      <p:pic>
        <p:nvPicPr>
          <p:cNvPr id="7" name="Picture 9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6997700" y="142875"/>
            <a:ext cx="1803400" cy="682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Rectangle 2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 algn="ctr">
              <a:defRPr>
                <a:latin typeface="Arial" pitchFamily="34" charset="0"/>
                <a:ea typeface="MS PGothic" pitchFamily="34" charset="-128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EBC9D60-7E24-4289-B880-333B3541C286}" type="datetime9">
              <a:rPr lang="en-US" smtClean="0">
                <a:solidFill>
                  <a:srgbClr val="0059B4"/>
                </a:solidFill>
              </a:rPr>
              <a:t>9/10/2019 8:35:51 AM</a:t>
            </a:fld>
            <a:endParaRPr lang="en-US" dirty="0">
              <a:solidFill>
                <a:srgbClr val="0059B4"/>
              </a:solidFill>
            </a:endParaRPr>
          </a:p>
        </p:txBody>
      </p:sp>
      <p:sp>
        <p:nvSpPr>
          <p:cNvPr id="9" name="Rectangle 3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0059B4"/>
              </a:solidFill>
            </a:endParaRPr>
          </a:p>
        </p:txBody>
      </p:sp>
      <p:sp>
        <p:nvSpPr>
          <p:cNvPr id="10" name="Rectangle 4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781800" y="6381750"/>
            <a:ext cx="2133600" cy="361950"/>
          </a:xfrm>
          <a:prstGeom prst="rect">
            <a:avLst/>
          </a:prstGeom>
        </p:spPr>
        <p:txBody>
          <a:bodyPr/>
          <a:lstStyle>
            <a:lvl1pPr algn="ctr">
              <a:defRPr>
                <a:latin typeface="Arial" pitchFamily="34" charset="0"/>
                <a:ea typeface="MS PGothic" pitchFamily="34" charset="-128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E7534EEC-ED20-41D6-8D42-A55C53A7DAD5}" type="slidenum">
              <a:rPr lang="en-US">
                <a:solidFill>
                  <a:srgbClr val="0059B4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solidFill>
                <a:srgbClr val="0059B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516675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5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2" descr="long_powerstrips.gif"/>
          <p:cNvPicPr>
            <a:picLocks noChangeAspect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88900" y="6362700"/>
            <a:ext cx="8966200" cy="403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Freeform 8"/>
          <p:cNvSpPr>
            <a:spLocks/>
          </p:cNvSpPr>
          <p:nvPr userDrawn="1"/>
        </p:nvSpPr>
        <p:spPr bwMode="auto">
          <a:xfrm>
            <a:off x="88900" y="114300"/>
            <a:ext cx="8966200" cy="711200"/>
          </a:xfrm>
          <a:custGeom>
            <a:avLst/>
            <a:gdLst>
              <a:gd name="T0" fmla="*/ 0 w 5376"/>
              <a:gd name="T1" fmla="*/ 0 h 3474"/>
              <a:gd name="T2" fmla="*/ 0 w 5376"/>
              <a:gd name="T3" fmla="*/ 2147483647 h 3474"/>
              <a:gd name="T4" fmla="*/ 2147483647 w 5376"/>
              <a:gd name="T5" fmla="*/ 2147483647 h 3474"/>
              <a:gd name="T6" fmla="*/ 2147483647 w 5376"/>
              <a:gd name="T7" fmla="*/ 2147483647 h 3474"/>
              <a:gd name="T8" fmla="*/ 2147483647 w 5376"/>
              <a:gd name="T9" fmla="*/ 2147483647 h 3474"/>
              <a:gd name="T10" fmla="*/ 2147483647 w 5376"/>
              <a:gd name="T11" fmla="*/ 2147483647 h 3474"/>
              <a:gd name="T12" fmla="*/ 2147483647 w 5376"/>
              <a:gd name="T13" fmla="*/ 0 h 3474"/>
              <a:gd name="T14" fmla="*/ 0 w 5376"/>
              <a:gd name="T15" fmla="*/ 0 h 3474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5376" h="3474">
                <a:moveTo>
                  <a:pt x="0" y="0"/>
                </a:moveTo>
                <a:lnTo>
                  <a:pt x="0" y="3474"/>
                </a:lnTo>
                <a:lnTo>
                  <a:pt x="941" y="3474"/>
                </a:lnTo>
                <a:lnTo>
                  <a:pt x="1081" y="3474"/>
                </a:lnTo>
                <a:lnTo>
                  <a:pt x="1210" y="3474"/>
                </a:lnTo>
                <a:lnTo>
                  <a:pt x="5376" y="3474"/>
                </a:lnTo>
                <a:lnTo>
                  <a:pt x="5376" y="0"/>
                </a:lnTo>
                <a:lnTo>
                  <a:pt x="0" y="0"/>
                </a:lnTo>
                <a:close/>
              </a:path>
            </a:pathLst>
          </a:custGeom>
          <a:solidFill>
            <a:srgbClr val="260F54"/>
          </a:solidFill>
          <a:ln>
            <a:noFill/>
          </a:ln>
          <a:effectLst/>
          <a:extLst/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srgbClr val="0059B4"/>
              </a:solidFill>
            </a:endParaRPr>
          </a:p>
        </p:txBody>
      </p:sp>
      <p:pic>
        <p:nvPicPr>
          <p:cNvPr id="8" name="Picture 9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6997700" y="142875"/>
            <a:ext cx="1803400" cy="682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3725" y="762000"/>
            <a:ext cx="8093075" cy="51911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93725" y="1485900"/>
            <a:ext cx="3968750" cy="4648200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14875" y="1485900"/>
            <a:ext cx="3968750" cy="4648200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Rectangle 2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 algn="ctr">
              <a:defRPr>
                <a:latin typeface="Arial" pitchFamily="34" charset="0"/>
                <a:ea typeface="MS PGothic" pitchFamily="34" charset="-128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B894DBC-395A-4D11-B00C-54EF0C3E5457}" type="datetime9">
              <a:rPr lang="en-US" smtClean="0">
                <a:solidFill>
                  <a:srgbClr val="0059B4"/>
                </a:solidFill>
              </a:rPr>
              <a:t>9/10/2019 8:35:51 AM</a:t>
            </a:fld>
            <a:endParaRPr lang="en-US" dirty="0">
              <a:solidFill>
                <a:srgbClr val="0059B4"/>
              </a:solidFill>
            </a:endParaRPr>
          </a:p>
        </p:txBody>
      </p:sp>
      <p:sp>
        <p:nvSpPr>
          <p:cNvPr id="10" name="Rectangle 3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0059B4"/>
              </a:solidFill>
            </a:endParaRPr>
          </a:p>
        </p:txBody>
      </p:sp>
      <p:sp>
        <p:nvSpPr>
          <p:cNvPr id="11" name="Rectangle 4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781800" y="6381750"/>
            <a:ext cx="2133600" cy="361950"/>
          </a:xfrm>
          <a:prstGeom prst="rect">
            <a:avLst/>
          </a:prstGeom>
        </p:spPr>
        <p:txBody>
          <a:bodyPr/>
          <a:lstStyle>
            <a:lvl1pPr algn="ctr">
              <a:defRPr>
                <a:latin typeface="Arial" pitchFamily="34" charset="0"/>
                <a:ea typeface="MS PGothic" pitchFamily="34" charset="-128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EA07FBD-59F3-4B93-962D-4C99A175DDF0}" type="slidenum">
              <a:rPr lang="en-US">
                <a:solidFill>
                  <a:srgbClr val="0059B4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solidFill>
                <a:srgbClr val="0059B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312767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9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7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2" descr="long_powerstrips.gif"/>
          <p:cNvPicPr>
            <a:picLocks noChangeAspect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88900" y="6362700"/>
            <a:ext cx="8966200" cy="403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Freeform 7"/>
          <p:cNvSpPr>
            <a:spLocks/>
          </p:cNvSpPr>
          <p:nvPr userDrawn="1"/>
        </p:nvSpPr>
        <p:spPr bwMode="auto">
          <a:xfrm>
            <a:off x="88900" y="114300"/>
            <a:ext cx="8966200" cy="711200"/>
          </a:xfrm>
          <a:custGeom>
            <a:avLst/>
            <a:gdLst>
              <a:gd name="T0" fmla="*/ 0 w 5376"/>
              <a:gd name="T1" fmla="*/ 0 h 3474"/>
              <a:gd name="T2" fmla="*/ 0 w 5376"/>
              <a:gd name="T3" fmla="*/ 2147483647 h 3474"/>
              <a:gd name="T4" fmla="*/ 2147483647 w 5376"/>
              <a:gd name="T5" fmla="*/ 2147483647 h 3474"/>
              <a:gd name="T6" fmla="*/ 2147483647 w 5376"/>
              <a:gd name="T7" fmla="*/ 2147483647 h 3474"/>
              <a:gd name="T8" fmla="*/ 2147483647 w 5376"/>
              <a:gd name="T9" fmla="*/ 2147483647 h 3474"/>
              <a:gd name="T10" fmla="*/ 2147483647 w 5376"/>
              <a:gd name="T11" fmla="*/ 2147483647 h 3474"/>
              <a:gd name="T12" fmla="*/ 2147483647 w 5376"/>
              <a:gd name="T13" fmla="*/ 0 h 3474"/>
              <a:gd name="T14" fmla="*/ 0 w 5376"/>
              <a:gd name="T15" fmla="*/ 0 h 3474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5376" h="3474">
                <a:moveTo>
                  <a:pt x="0" y="0"/>
                </a:moveTo>
                <a:lnTo>
                  <a:pt x="0" y="3474"/>
                </a:lnTo>
                <a:lnTo>
                  <a:pt x="941" y="3474"/>
                </a:lnTo>
                <a:lnTo>
                  <a:pt x="1081" y="3474"/>
                </a:lnTo>
                <a:lnTo>
                  <a:pt x="1210" y="3474"/>
                </a:lnTo>
                <a:lnTo>
                  <a:pt x="5376" y="3474"/>
                </a:lnTo>
                <a:lnTo>
                  <a:pt x="5376" y="0"/>
                </a:lnTo>
                <a:lnTo>
                  <a:pt x="0" y="0"/>
                </a:lnTo>
                <a:close/>
              </a:path>
            </a:pathLst>
          </a:custGeom>
          <a:solidFill>
            <a:srgbClr val="260F54"/>
          </a:solidFill>
          <a:ln>
            <a:noFill/>
          </a:ln>
          <a:effectLst/>
          <a:extLst/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srgbClr val="0059B4"/>
              </a:solidFill>
            </a:endParaRPr>
          </a:p>
        </p:txBody>
      </p:sp>
      <p:pic>
        <p:nvPicPr>
          <p:cNvPr id="10" name="Picture 8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6997700" y="142875"/>
            <a:ext cx="1803400" cy="682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Rectangle 2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 algn="ctr">
              <a:defRPr>
                <a:latin typeface="Arial" pitchFamily="34" charset="0"/>
                <a:ea typeface="MS PGothic" pitchFamily="34" charset="-128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919CD86-9162-4A58-A6D9-0DF3BDB91DC9}" type="datetime9">
              <a:rPr lang="en-US" smtClean="0">
                <a:solidFill>
                  <a:srgbClr val="0059B4"/>
                </a:solidFill>
              </a:rPr>
              <a:t>9/10/2019 8:35:51 AM</a:t>
            </a:fld>
            <a:endParaRPr lang="en-US" dirty="0">
              <a:solidFill>
                <a:srgbClr val="0059B4"/>
              </a:solidFill>
            </a:endParaRPr>
          </a:p>
        </p:txBody>
      </p:sp>
      <p:sp>
        <p:nvSpPr>
          <p:cNvPr id="12" name="Rectangle 3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0059B4"/>
              </a:solidFill>
            </a:endParaRPr>
          </a:p>
        </p:txBody>
      </p:sp>
      <p:sp>
        <p:nvSpPr>
          <p:cNvPr id="13" name="Rectangle 4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781800" y="6381750"/>
            <a:ext cx="2133600" cy="361950"/>
          </a:xfrm>
          <a:prstGeom prst="rect">
            <a:avLst/>
          </a:prstGeom>
        </p:spPr>
        <p:txBody>
          <a:bodyPr/>
          <a:lstStyle>
            <a:lvl1pPr algn="ctr">
              <a:defRPr>
                <a:latin typeface="Arial" pitchFamily="34" charset="0"/>
                <a:ea typeface="MS PGothic" pitchFamily="34" charset="-128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21EFAD29-2C8E-4D1F-A96F-C9133B62DEB2}" type="slidenum">
              <a:rPr lang="en-US">
                <a:solidFill>
                  <a:srgbClr val="0059B4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solidFill>
                <a:srgbClr val="0059B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761703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1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3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2" descr="long_powerstrips.gif"/>
          <p:cNvPicPr>
            <a:picLocks noChangeAspect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88900" y="6362700"/>
            <a:ext cx="8966200" cy="403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Freeform 8"/>
          <p:cNvSpPr>
            <a:spLocks/>
          </p:cNvSpPr>
          <p:nvPr userDrawn="1"/>
        </p:nvSpPr>
        <p:spPr bwMode="auto">
          <a:xfrm>
            <a:off x="88900" y="114300"/>
            <a:ext cx="8966200" cy="711200"/>
          </a:xfrm>
          <a:custGeom>
            <a:avLst/>
            <a:gdLst>
              <a:gd name="T0" fmla="*/ 0 w 5376"/>
              <a:gd name="T1" fmla="*/ 0 h 3474"/>
              <a:gd name="T2" fmla="*/ 0 w 5376"/>
              <a:gd name="T3" fmla="*/ 2147483647 h 3474"/>
              <a:gd name="T4" fmla="*/ 2147483647 w 5376"/>
              <a:gd name="T5" fmla="*/ 2147483647 h 3474"/>
              <a:gd name="T6" fmla="*/ 2147483647 w 5376"/>
              <a:gd name="T7" fmla="*/ 2147483647 h 3474"/>
              <a:gd name="T8" fmla="*/ 2147483647 w 5376"/>
              <a:gd name="T9" fmla="*/ 2147483647 h 3474"/>
              <a:gd name="T10" fmla="*/ 2147483647 w 5376"/>
              <a:gd name="T11" fmla="*/ 2147483647 h 3474"/>
              <a:gd name="T12" fmla="*/ 2147483647 w 5376"/>
              <a:gd name="T13" fmla="*/ 0 h 3474"/>
              <a:gd name="T14" fmla="*/ 0 w 5376"/>
              <a:gd name="T15" fmla="*/ 0 h 3474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5376" h="3474">
                <a:moveTo>
                  <a:pt x="0" y="0"/>
                </a:moveTo>
                <a:lnTo>
                  <a:pt x="0" y="3474"/>
                </a:lnTo>
                <a:lnTo>
                  <a:pt x="941" y="3474"/>
                </a:lnTo>
                <a:lnTo>
                  <a:pt x="1081" y="3474"/>
                </a:lnTo>
                <a:lnTo>
                  <a:pt x="1210" y="3474"/>
                </a:lnTo>
                <a:lnTo>
                  <a:pt x="5376" y="3474"/>
                </a:lnTo>
                <a:lnTo>
                  <a:pt x="5376" y="0"/>
                </a:lnTo>
                <a:lnTo>
                  <a:pt x="0" y="0"/>
                </a:lnTo>
                <a:close/>
              </a:path>
            </a:pathLst>
          </a:custGeom>
          <a:solidFill>
            <a:srgbClr val="260F54"/>
          </a:solidFill>
          <a:ln>
            <a:noFill/>
          </a:ln>
          <a:effectLst/>
          <a:extLst/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srgbClr val="0059B4"/>
              </a:solidFill>
            </a:endParaRPr>
          </a:p>
        </p:txBody>
      </p:sp>
      <p:pic>
        <p:nvPicPr>
          <p:cNvPr id="6" name="Picture 9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6997700" y="142875"/>
            <a:ext cx="1803400" cy="682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3725" y="762000"/>
            <a:ext cx="8093075" cy="51911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Date Placeholder 6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 algn="ctr">
              <a:defRPr>
                <a:latin typeface="Arial" pitchFamily="34" charset="0"/>
                <a:ea typeface="MS PGothic" pitchFamily="34" charset="-128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400694E-2DA6-45FC-87E0-6C62F695E7D3}" type="datetime9">
              <a:rPr lang="en-US" smtClean="0">
                <a:solidFill>
                  <a:srgbClr val="0059B4"/>
                </a:solidFill>
              </a:rPr>
              <a:t>9/10/2019 8:35:51 AM</a:t>
            </a:fld>
            <a:endParaRPr lang="en-US" dirty="0">
              <a:solidFill>
                <a:srgbClr val="0059B4"/>
              </a:solidFill>
            </a:endParaRPr>
          </a:p>
        </p:txBody>
      </p:sp>
      <p:sp>
        <p:nvSpPr>
          <p:cNvPr id="8" name="Footer Placeholder 7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0059B4"/>
              </a:solidFill>
            </a:endParaRPr>
          </a:p>
        </p:txBody>
      </p:sp>
      <p:sp>
        <p:nvSpPr>
          <p:cNvPr id="9" name="Slide Number Placeholder 8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781800" y="6381750"/>
            <a:ext cx="2133600" cy="361950"/>
          </a:xfrm>
          <a:prstGeom prst="rect">
            <a:avLst/>
          </a:prstGeom>
        </p:spPr>
        <p:txBody>
          <a:bodyPr/>
          <a:lstStyle>
            <a:lvl1pPr algn="ctr">
              <a:defRPr>
                <a:latin typeface="Arial" pitchFamily="34" charset="0"/>
                <a:ea typeface="MS PGothic" pitchFamily="34" charset="-128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E32971FE-121A-43AE-9CF0-7109EADF8C8D}" type="slidenum">
              <a:rPr lang="en-US">
                <a:solidFill>
                  <a:srgbClr val="0059B4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solidFill>
                <a:srgbClr val="0059B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038707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4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2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6" descr="long_powerstrips.gif"/>
          <p:cNvPicPr>
            <a:picLocks noChangeAspect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88900" y="6362700"/>
            <a:ext cx="8966200" cy="403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Freeform 8"/>
          <p:cNvSpPr>
            <a:spLocks/>
          </p:cNvSpPr>
          <p:nvPr userDrawn="1"/>
        </p:nvSpPr>
        <p:spPr bwMode="auto">
          <a:xfrm>
            <a:off x="88900" y="114300"/>
            <a:ext cx="8966200" cy="711200"/>
          </a:xfrm>
          <a:custGeom>
            <a:avLst/>
            <a:gdLst>
              <a:gd name="T0" fmla="*/ 0 w 5376"/>
              <a:gd name="T1" fmla="*/ 0 h 3474"/>
              <a:gd name="T2" fmla="*/ 0 w 5376"/>
              <a:gd name="T3" fmla="*/ 2147483647 h 3474"/>
              <a:gd name="T4" fmla="*/ 2147483647 w 5376"/>
              <a:gd name="T5" fmla="*/ 2147483647 h 3474"/>
              <a:gd name="T6" fmla="*/ 2147483647 w 5376"/>
              <a:gd name="T7" fmla="*/ 2147483647 h 3474"/>
              <a:gd name="T8" fmla="*/ 2147483647 w 5376"/>
              <a:gd name="T9" fmla="*/ 2147483647 h 3474"/>
              <a:gd name="T10" fmla="*/ 2147483647 w 5376"/>
              <a:gd name="T11" fmla="*/ 2147483647 h 3474"/>
              <a:gd name="T12" fmla="*/ 2147483647 w 5376"/>
              <a:gd name="T13" fmla="*/ 0 h 3474"/>
              <a:gd name="T14" fmla="*/ 0 w 5376"/>
              <a:gd name="T15" fmla="*/ 0 h 3474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5376" h="3474">
                <a:moveTo>
                  <a:pt x="0" y="0"/>
                </a:moveTo>
                <a:lnTo>
                  <a:pt x="0" y="3474"/>
                </a:lnTo>
                <a:lnTo>
                  <a:pt x="941" y="3474"/>
                </a:lnTo>
                <a:lnTo>
                  <a:pt x="1081" y="3474"/>
                </a:lnTo>
                <a:lnTo>
                  <a:pt x="1210" y="3474"/>
                </a:lnTo>
                <a:lnTo>
                  <a:pt x="5376" y="3474"/>
                </a:lnTo>
                <a:lnTo>
                  <a:pt x="5376" y="0"/>
                </a:lnTo>
                <a:lnTo>
                  <a:pt x="0" y="0"/>
                </a:lnTo>
                <a:close/>
              </a:path>
            </a:pathLst>
          </a:custGeom>
          <a:solidFill>
            <a:srgbClr val="260F54"/>
          </a:solidFill>
          <a:ln>
            <a:noFill/>
          </a:ln>
          <a:effectLst/>
          <a:extLst/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srgbClr val="0059B4"/>
              </a:solidFill>
            </a:endParaRPr>
          </a:p>
        </p:txBody>
      </p:sp>
      <p:pic>
        <p:nvPicPr>
          <p:cNvPr id="5" name="Picture 9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6997700" y="142875"/>
            <a:ext cx="1803400" cy="682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2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 algn="ctr">
              <a:defRPr>
                <a:latin typeface="Arial" pitchFamily="34" charset="0"/>
                <a:ea typeface="MS PGothic" pitchFamily="34" charset="-128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6D5DD78-A0B9-47EF-A8EA-8EBDEF9C7A52}" type="datetime9">
              <a:rPr lang="en-US" smtClean="0">
                <a:solidFill>
                  <a:srgbClr val="0059B4"/>
                </a:solidFill>
              </a:rPr>
              <a:t>9/10/2019 8:35:51 AM</a:t>
            </a:fld>
            <a:endParaRPr lang="en-US" dirty="0">
              <a:solidFill>
                <a:srgbClr val="0059B4"/>
              </a:solidFill>
            </a:endParaRPr>
          </a:p>
        </p:txBody>
      </p:sp>
      <p:sp>
        <p:nvSpPr>
          <p:cNvPr id="7" name="Rectangle 3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0059B4"/>
              </a:solidFill>
            </a:endParaRPr>
          </a:p>
        </p:txBody>
      </p:sp>
      <p:sp>
        <p:nvSpPr>
          <p:cNvPr id="8" name="Rectangle 4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781800" y="6381750"/>
            <a:ext cx="2133600" cy="361950"/>
          </a:xfrm>
          <a:prstGeom prst="rect">
            <a:avLst/>
          </a:prstGeom>
        </p:spPr>
        <p:txBody>
          <a:bodyPr/>
          <a:lstStyle>
            <a:lvl1pPr algn="ctr">
              <a:defRPr>
                <a:latin typeface="Arial" pitchFamily="34" charset="0"/>
                <a:ea typeface="MS PGothic" pitchFamily="34" charset="-128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91599699-9EB2-4359-89C1-464B4E85120F}" type="slidenum">
              <a:rPr lang="en-US">
                <a:solidFill>
                  <a:srgbClr val="0059B4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solidFill>
                <a:srgbClr val="0059B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963981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6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5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2" descr="long_powerstrips.gif"/>
          <p:cNvPicPr>
            <a:picLocks noChangeAspect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88900" y="6362700"/>
            <a:ext cx="8966200" cy="403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Freeform 8"/>
          <p:cNvSpPr>
            <a:spLocks/>
          </p:cNvSpPr>
          <p:nvPr userDrawn="1"/>
        </p:nvSpPr>
        <p:spPr bwMode="auto">
          <a:xfrm>
            <a:off x="88900" y="114300"/>
            <a:ext cx="8966200" cy="711200"/>
          </a:xfrm>
          <a:custGeom>
            <a:avLst/>
            <a:gdLst>
              <a:gd name="T0" fmla="*/ 0 w 5376"/>
              <a:gd name="T1" fmla="*/ 0 h 3474"/>
              <a:gd name="T2" fmla="*/ 0 w 5376"/>
              <a:gd name="T3" fmla="*/ 2147483647 h 3474"/>
              <a:gd name="T4" fmla="*/ 2147483647 w 5376"/>
              <a:gd name="T5" fmla="*/ 2147483647 h 3474"/>
              <a:gd name="T6" fmla="*/ 2147483647 w 5376"/>
              <a:gd name="T7" fmla="*/ 2147483647 h 3474"/>
              <a:gd name="T8" fmla="*/ 2147483647 w 5376"/>
              <a:gd name="T9" fmla="*/ 2147483647 h 3474"/>
              <a:gd name="T10" fmla="*/ 2147483647 w 5376"/>
              <a:gd name="T11" fmla="*/ 2147483647 h 3474"/>
              <a:gd name="T12" fmla="*/ 2147483647 w 5376"/>
              <a:gd name="T13" fmla="*/ 0 h 3474"/>
              <a:gd name="T14" fmla="*/ 0 w 5376"/>
              <a:gd name="T15" fmla="*/ 0 h 3474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5376" h="3474">
                <a:moveTo>
                  <a:pt x="0" y="0"/>
                </a:moveTo>
                <a:lnTo>
                  <a:pt x="0" y="3474"/>
                </a:lnTo>
                <a:lnTo>
                  <a:pt x="941" y="3474"/>
                </a:lnTo>
                <a:lnTo>
                  <a:pt x="1081" y="3474"/>
                </a:lnTo>
                <a:lnTo>
                  <a:pt x="1210" y="3474"/>
                </a:lnTo>
                <a:lnTo>
                  <a:pt x="5376" y="3474"/>
                </a:lnTo>
                <a:lnTo>
                  <a:pt x="5376" y="0"/>
                </a:lnTo>
                <a:lnTo>
                  <a:pt x="0" y="0"/>
                </a:lnTo>
                <a:close/>
              </a:path>
            </a:pathLst>
          </a:custGeom>
          <a:solidFill>
            <a:srgbClr val="260F54"/>
          </a:solidFill>
          <a:ln>
            <a:noFill/>
          </a:ln>
          <a:effectLst/>
          <a:extLst/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srgbClr val="0059B4"/>
              </a:solidFill>
            </a:endParaRPr>
          </a:p>
        </p:txBody>
      </p:sp>
      <p:pic>
        <p:nvPicPr>
          <p:cNvPr id="8" name="Picture 9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6997700" y="142875"/>
            <a:ext cx="1803400" cy="682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Rectangle 2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 algn="ctr">
              <a:defRPr>
                <a:latin typeface="Arial" pitchFamily="34" charset="0"/>
                <a:ea typeface="MS PGothic" pitchFamily="34" charset="-128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E1C8F5F-235A-40CA-987C-6BCDAEED9453}" type="datetime9">
              <a:rPr lang="en-US" smtClean="0">
                <a:solidFill>
                  <a:srgbClr val="0059B4"/>
                </a:solidFill>
              </a:rPr>
              <a:t>9/10/2019 8:35:51 AM</a:t>
            </a:fld>
            <a:endParaRPr lang="en-US" dirty="0">
              <a:solidFill>
                <a:srgbClr val="0059B4"/>
              </a:solidFill>
            </a:endParaRPr>
          </a:p>
        </p:txBody>
      </p:sp>
      <p:sp>
        <p:nvSpPr>
          <p:cNvPr id="10" name="Rectangle 3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0059B4"/>
              </a:solidFill>
            </a:endParaRPr>
          </a:p>
        </p:txBody>
      </p:sp>
      <p:sp>
        <p:nvSpPr>
          <p:cNvPr id="11" name="Rectangle 4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781800" y="6381750"/>
            <a:ext cx="2133600" cy="361950"/>
          </a:xfrm>
          <a:prstGeom prst="rect">
            <a:avLst/>
          </a:prstGeom>
        </p:spPr>
        <p:txBody>
          <a:bodyPr/>
          <a:lstStyle>
            <a:lvl1pPr algn="ctr">
              <a:defRPr>
                <a:latin typeface="Arial" pitchFamily="34" charset="0"/>
                <a:ea typeface="MS PGothic" pitchFamily="34" charset="-128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7558C02C-3BBD-434C-877C-1AC8F0E42055}" type="slidenum">
              <a:rPr lang="en-US">
                <a:solidFill>
                  <a:srgbClr val="0059B4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solidFill>
                <a:srgbClr val="0059B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60401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4B7921-4BAE-432E-998B-3AE4DE96B430}" type="datetime9">
              <a:rPr lang="en-US" smtClean="0"/>
              <a:t>9/10/2019 8:35:51 AM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41CDB6-91B1-401D-BCBB-B5223F0FB40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123368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8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5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2" descr="long_powerstrips.gif"/>
          <p:cNvPicPr>
            <a:picLocks noChangeAspect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88900" y="6362700"/>
            <a:ext cx="8966200" cy="403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Freeform 8"/>
          <p:cNvSpPr>
            <a:spLocks/>
          </p:cNvSpPr>
          <p:nvPr userDrawn="1"/>
        </p:nvSpPr>
        <p:spPr bwMode="auto">
          <a:xfrm>
            <a:off x="88900" y="114300"/>
            <a:ext cx="8966200" cy="711200"/>
          </a:xfrm>
          <a:custGeom>
            <a:avLst/>
            <a:gdLst>
              <a:gd name="T0" fmla="*/ 0 w 5376"/>
              <a:gd name="T1" fmla="*/ 0 h 3474"/>
              <a:gd name="T2" fmla="*/ 0 w 5376"/>
              <a:gd name="T3" fmla="*/ 2147483647 h 3474"/>
              <a:gd name="T4" fmla="*/ 2147483647 w 5376"/>
              <a:gd name="T5" fmla="*/ 2147483647 h 3474"/>
              <a:gd name="T6" fmla="*/ 2147483647 w 5376"/>
              <a:gd name="T7" fmla="*/ 2147483647 h 3474"/>
              <a:gd name="T8" fmla="*/ 2147483647 w 5376"/>
              <a:gd name="T9" fmla="*/ 2147483647 h 3474"/>
              <a:gd name="T10" fmla="*/ 2147483647 w 5376"/>
              <a:gd name="T11" fmla="*/ 2147483647 h 3474"/>
              <a:gd name="T12" fmla="*/ 2147483647 w 5376"/>
              <a:gd name="T13" fmla="*/ 0 h 3474"/>
              <a:gd name="T14" fmla="*/ 0 w 5376"/>
              <a:gd name="T15" fmla="*/ 0 h 3474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5376" h="3474">
                <a:moveTo>
                  <a:pt x="0" y="0"/>
                </a:moveTo>
                <a:lnTo>
                  <a:pt x="0" y="3474"/>
                </a:lnTo>
                <a:lnTo>
                  <a:pt x="941" y="3474"/>
                </a:lnTo>
                <a:lnTo>
                  <a:pt x="1081" y="3474"/>
                </a:lnTo>
                <a:lnTo>
                  <a:pt x="1210" y="3474"/>
                </a:lnTo>
                <a:lnTo>
                  <a:pt x="5376" y="3474"/>
                </a:lnTo>
                <a:lnTo>
                  <a:pt x="5376" y="0"/>
                </a:lnTo>
                <a:lnTo>
                  <a:pt x="0" y="0"/>
                </a:lnTo>
                <a:close/>
              </a:path>
            </a:pathLst>
          </a:custGeom>
          <a:solidFill>
            <a:srgbClr val="260F54"/>
          </a:solidFill>
          <a:ln>
            <a:noFill/>
          </a:ln>
          <a:effectLst/>
          <a:extLst/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srgbClr val="0059B4"/>
              </a:solidFill>
            </a:endParaRPr>
          </a:p>
        </p:txBody>
      </p:sp>
      <p:pic>
        <p:nvPicPr>
          <p:cNvPr id="8" name="Picture 9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6997700" y="142875"/>
            <a:ext cx="1803400" cy="682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Rectangle 2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 algn="ctr">
              <a:defRPr>
                <a:latin typeface="Arial" pitchFamily="34" charset="0"/>
                <a:ea typeface="MS PGothic" pitchFamily="34" charset="-128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F80887E3-F102-4F6A-88D0-FDF23027BECB}" type="datetime9">
              <a:rPr lang="en-US" smtClean="0">
                <a:solidFill>
                  <a:srgbClr val="0059B4"/>
                </a:solidFill>
              </a:rPr>
              <a:t>9/10/2019 8:35:51 AM</a:t>
            </a:fld>
            <a:endParaRPr lang="en-US" dirty="0">
              <a:solidFill>
                <a:srgbClr val="0059B4"/>
              </a:solidFill>
            </a:endParaRPr>
          </a:p>
        </p:txBody>
      </p:sp>
      <p:sp>
        <p:nvSpPr>
          <p:cNvPr id="10" name="Rectangle 3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0059B4"/>
              </a:solidFill>
            </a:endParaRPr>
          </a:p>
        </p:txBody>
      </p:sp>
      <p:sp>
        <p:nvSpPr>
          <p:cNvPr id="11" name="Rectangle 4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781800" y="6381750"/>
            <a:ext cx="2133600" cy="361950"/>
          </a:xfrm>
          <a:prstGeom prst="rect">
            <a:avLst/>
          </a:prstGeom>
        </p:spPr>
        <p:txBody>
          <a:bodyPr/>
          <a:lstStyle>
            <a:lvl1pPr algn="ctr">
              <a:defRPr>
                <a:latin typeface="Arial" pitchFamily="34" charset="0"/>
                <a:ea typeface="MS PGothic" pitchFamily="34" charset="-128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727368B-C664-4E9E-BA77-9B03B4958CB0}" type="slidenum">
              <a:rPr lang="en-US">
                <a:solidFill>
                  <a:srgbClr val="0059B4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solidFill>
                <a:srgbClr val="0059B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986946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4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2" descr="long_powerstrips.gif"/>
          <p:cNvPicPr>
            <a:picLocks noChangeAspect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88900" y="6362700"/>
            <a:ext cx="8966200" cy="403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Freeform 8"/>
          <p:cNvSpPr>
            <a:spLocks/>
          </p:cNvSpPr>
          <p:nvPr userDrawn="1"/>
        </p:nvSpPr>
        <p:spPr bwMode="auto">
          <a:xfrm>
            <a:off x="88900" y="114300"/>
            <a:ext cx="8966200" cy="711200"/>
          </a:xfrm>
          <a:custGeom>
            <a:avLst/>
            <a:gdLst>
              <a:gd name="T0" fmla="*/ 0 w 5376"/>
              <a:gd name="T1" fmla="*/ 0 h 3474"/>
              <a:gd name="T2" fmla="*/ 0 w 5376"/>
              <a:gd name="T3" fmla="*/ 2147483647 h 3474"/>
              <a:gd name="T4" fmla="*/ 2147483647 w 5376"/>
              <a:gd name="T5" fmla="*/ 2147483647 h 3474"/>
              <a:gd name="T6" fmla="*/ 2147483647 w 5376"/>
              <a:gd name="T7" fmla="*/ 2147483647 h 3474"/>
              <a:gd name="T8" fmla="*/ 2147483647 w 5376"/>
              <a:gd name="T9" fmla="*/ 2147483647 h 3474"/>
              <a:gd name="T10" fmla="*/ 2147483647 w 5376"/>
              <a:gd name="T11" fmla="*/ 2147483647 h 3474"/>
              <a:gd name="T12" fmla="*/ 2147483647 w 5376"/>
              <a:gd name="T13" fmla="*/ 0 h 3474"/>
              <a:gd name="T14" fmla="*/ 0 w 5376"/>
              <a:gd name="T15" fmla="*/ 0 h 3474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5376" h="3474">
                <a:moveTo>
                  <a:pt x="0" y="0"/>
                </a:moveTo>
                <a:lnTo>
                  <a:pt x="0" y="3474"/>
                </a:lnTo>
                <a:lnTo>
                  <a:pt x="941" y="3474"/>
                </a:lnTo>
                <a:lnTo>
                  <a:pt x="1081" y="3474"/>
                </a:lnTo>
                <a:lnTo>
                  <a:pt x="1210" y="3474"/>
                </a:lnTo>
                <a:lnTo>
                  <a:pt x="5376" y="3474"/>
                </a:lnTo>
                <a:lnTo>
                  <a:pt x="5376" y="0"/>
                </a:lnTo>
                <a:lnTo>
                  <a:pt x="0" y="0"/>
                </a:lnTo>
                <a:close/>
              </a:path>
            </a:pathLst>
          </a:custGeom>
          <a:solidFill>
            <a:srgbClr val="260F54"/>
          </a:solidFill>
          <a:ln>
            <a:noFill/>
          </a:ln>
          <a:effectLst/>
          <a:extLst/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srgbClr val="0059B4"/>
              </a:solidFill>
            </a:endParaRPr>
          </a:p>
        </p:txBody>
      </p:sp>
      <p:pic>
        <p:nvPicPr>
          <p:cNvPr id="7" name="Picture 9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6997700" y="142875"/>
            <a:ext cx="1803400" cy="682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3725" y="762000"/>
            <a:ext cx="8093075" cy="51911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93725" y="1485900"/>
            <a:ext cx="8089900" cy="4648200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Rectangle 2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 algn="ctr">
              <a:defRPr>
                <a:latin typeface="Arial" pitchFamily="34" charset="0"/>
                <a:ea typeface="MS PGothic" pitchFamily="34" charset="-128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37C9FF1-43A5-4715-A2E6-DAE06F942093}" type="datetime9">
              <a:rPr lang="en-US" smtClean="0">
                <a:solidFill>
                  <a:srgbClr val="0059B4"/>
                </a:solidFill>
              </a:rPr>
              <a:t>9/10/2019 8:35:51 AM</a:t>
            </a:fld>
            <a:endParaRPr lang="en-US" dirty="0">
              <a:solidFill>
                <a:srgbClr val="0059B4"/>
              </a:solidFill>
            </a:endParaRPr>
          </a:p>
        </p:txBody>
      </p:sp>
      <p:sp>
        <p:nvSpPr>
          <p:cNvPr id="9" name="Rectangle 3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0059B4"/>
              </a:solidFill>
            </a:endParaRPr>
          </a:p>
        </p:txBody>
      </p:sp>
      <p:sp>
        <p:nvSpPr>
          <p:cNvPr id="10" name="Rectangle 4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781800" y="6381750"/>
            <a:ext cx="2133600" cy="361950"/>
          </a:xfrm>
          <a:prstGeom prst="rect">
            <a:avLst/>
          </a:prstGeom>
        </p:spPr>
        <p:txBody>
          <a:bodyPr/>
          <a:lstStyle>
            <a:lvl1pPr algn="ctr">
              <a:defRPr>
                <a:latin typeface="Arial" pitchFamily="34" charset="0"/>
                <a:ea typeface="MS PGothic" pitchFamily="34" charset="-128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4C8191EB-607B-4B0C-AC4E-08C5FF00758A}" type="slidenum">
              <a:rPr lang="en-US">
                <a:solidFill>
                  <a:srgbClr val="0059B4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solidFill>
                <a:srgbClr val="0059B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478978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3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4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2" descr="long_powerstrips.gif"/>
          <p:cNvPicPr>
            <a:picLocks noChangeAspect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88900" y="6362700"/>
            <a:ext cx="8966200" cy="403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Freeform 8"/>
          <p:cNvSpPr>
            <a:spLocks/>
          </p:cNvSpPr>
          <p:nvPr userDrawn="1"/>
        </p:nvSpPr>
        <p:spPr bwMode="auto">
          <a:xfrm>
            <a:off x="88900" y="114300"/>
            <a:ext cx="8966200" cy="711200"/>
          </a:xfrm>
          <a:custGeom>
            <a:avLst/>
            <a:gdLst>
              <a:gd name="T0" fmla="*/ 0 w 5376"/>
              <a:gd name="T1" fmla="*/ 0 h 3474"/>
              <a:gd name="T2" fmla="*/ 0 w 5376"/>
              <a:gd name="T3" fmla="*/ 2147483647 h 3474"/>
              <a:gd name="T4" fmla="*/ 2147483647 w 5376"/>
              <a:gd name="T5" fmla="*/ 2147483647 h 3474"/>
              <a:gd name="T6" fmla="*/ 2147483647 w 5376"/>
              <a:gd name="T7" fmla="*/ 2147483647 h 3474"/>
              <a:gd name="T8" fmla="*/ 2147483647 w 5376"/>
              <a:gd name="T9" fmla="*/ 2147483647 h 3474"/>
              <a:gd name="T10" fmla="*/ 2147483647 w 5376"/>
              <a:gd name="T11" fmla="*/ 2147483647 h 3474"/>
              <a:gd name="T12" fmla="*/ 2147483647 w 5376"/>
              <a:gd name="T13" fmla="*/ 0 h 3474"/>
              <a:gd name="T14" fmla="*/ 0 w 5376"/>
              <a:gd name="T15" fmla="*/ 0 h 3474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5376" h="3474">
                <a:moveTo>
                  <a:pt x="0" y="0"/>
                </a:moveTo>
                <a:lnTo>
                  <a:pt x="0" y="3474"/>
                </a:lnTo>
                <a:lnTo>
                  <a:pt x="941" y="3474"/>
                </a:lnTo>
                <a:lnTo>
                  <a:pt x="1081" y="3474"/>
                </a:lnTo>
                <a:lnTo>
                  <a:pt x="1210" y="3474"/>
                </a:lnTo>
                <a:lnTo>
                  <a:pt x="5376" y="3474"/>
                </a:lnTo>
                <a:lnTo>
                  <a:pt x="5376" y="0"/>
                </a:lnTo>
                <a:lnTo>
                  <a:pt x="0" y="0"/>
                </a:lnTo>
                <a:close/>
              </a:path>
            </a:pathLst>
          </a:custGeom>
          <a:solidFill>
            <a:srgbClr val="260F54"/>
          </a:solidFill>
          <a:ln>
            <a:noFill/>
          </a:ln>
          <a:effectLst/>
          <a:extLst/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srgbClr val="0059B4"/>
              </a:solidFill>
            </a:endParaRPr>
          </a:p>
        </p:txBody>
      </p:sp>
      <p:pic>
        <p:nvPicPr>
          <p:cNvPr id="7" name="Picture 9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6997700" y="142875"/>
            <a:ext cx="1803400" cy="682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64325" y="762000"/>
            <a:ext cx="2022475" cy="5372100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93725" y="762000"/>
            <a:ext cx="5918200" cy="5372100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Rectangle 2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 algn="ctr">
              <a:defRPr>
                <a:latin typeface="Arial" pitchFamily="34" charset="0"/>
                <a:ea typeface="MS PGothic" pitchFamily="34" charset="-128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ED6CDD1A-F29C-4620-8A64-D0D34D3B0D8A}" type="datetime9">
              <a:rPr lang="en-US" smtClean="0">
                <a:solidFill>
                  <a:srgbClr val="0059B4"/>
                </a:solidFill>
              </a:rPr>
              <a:t>9/10/2019 8:35:51 AM</a:t>
            </a:fld>
            <a:endParaRPr lang="en-US" dirty="0">
              <a:solidFill>
                <a:srgbClr val="0059B4"/>
              </a:solidFill>
            </a:endParaRPr>
          </a:p>
        </p:txBody>
      </p:sp>
      <p:sp>
        <p:nvSpPr>
          <p:cNvPr id="9" name="Rectangle 3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0059B4"/>
              </a:solidFill>
            </a:endParaRPr>
          </a:p>
        </p:txBody>
      </p:sp>
      <p:sp>
        <p:nvSpPr>
          <p:cNvPr id="10" name="Rectangle 4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781800" y="6381750"/>
            <a:ext cx="2133600" cy="361950"/>
          </a:xfrm>
          <a:prstGeom prst="rect">
            <a:avLst/>
          </a:prstGeom>
        </p:spPr>
        <p:txBody>
          <a:bodyPr/>
          <a:lstStyle>
            <a:lvl1pPr algn="ctr">
              <a:defRPr>
                <a:latin typeface="Arial" pitchFamily="34" charset="0"/>
                <a:ea typeface="MS PGothic" pitchFamily="34" charset="-128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68D54573-785C-488F-8519-8DDA0FBD6126}" type="slidenum">
              <a:rPr lang="en-US">
                <a:solidFill>
                  <a:srgbClr val="0059B4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solidFill>
                <a:srgbClr val="0059B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87598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B7BF93-1080-45E1-91C3-2B8371F55767}" type="datetime9">
              <a:rPr lang="en-US" smtClean="0"/>
              <a:t>9/10/2019 8:35:51 AM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41CDB6-91B1-401D-BCBB-B5223F0FB40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053970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9D1981-50EA-438A-933A-32E1FA50088F}" type="datetime9">
              <a:rPr lang="en-US" smtClean="0"/>
              <a:t>9/10/2019 8:35:51 AM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41CDB6-91B1-401D-BCBB-B5223F0FB40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086111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768975-3CBD-4C58-8911-65A189E31FCE}" type="datetime9">
              <a:rPr lang="en-US" smtClean="0"/>
              <a:t>9/10/2019 8:35:51 AM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41CDB6-91B1-401D-BCBB-B5223F0FB40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86612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D43356-85D8-4A8F-9189-C1DADD8D087C}" type="datetime9">
              <a:rPr lang="en-US" smtClean="0"/>
              <a:t>9/10/2019 8:35:51 AM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41CDB6-91B1-401D-BCBB-B5223F0FB40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38245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68506E-8A99-4996-9088-95B700F63CE7}" type="datetime9">
              <a:rPr lang="en-US" smtClean="0"/>
              <a:t>9/10/2019 8:35:51 AM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41CDB6-91B1-401D-BCBB-B5223F0FB40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382741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303970-5AB5-477E-93D4-CC7C703BAF94}" type="datetime9">
              <a:rPr lang="en-US" smtClean="0"/>
              <a:t>9/10/2019 8:35:51 AM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41CDB6-91B1-401D-BCBB-B5223F0FB40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632261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0B8500-BF03-4925-984B-DE851CB32168}" type="datetime9">
              <a:rPr lang="en-US" smtClean="0"/>
              <a:t>9/10/2019 8:35:51 AM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41CDB6-91B1-401D-BCBB-B5223F0FB40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055756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vmlDrawing" Target="../drawings/vmlDrawing1.vml"/><Relationship Id="rId18" Type="http://schemas.openxmlformats.org/officeDocument/2006/relationships/image" Target="../media/image3.pn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BB8FAE0-205D-43A5-91FE-73E29F07EAA6}" type="datetime9">
              <a:rPr lang="en-US" smtClean="0"/>
              <a:t>9/10/2019 8:35:51 AM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141CDB6-91B1-401D-BCBB-B5223F0FB40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94024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77" name="Object 453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7" name="think-cell Slide" r:id="rId15" imgW="360" imgH="360" progId="">
                  <p:embed/>
                </p:oleObj>
              </mc:Choice>
              <mc:Fallback>
                <p:oleObj name="think-cell Slide" r:id="rId15" imgW="360" imgH="360" progId="">
                  <p:embed/>
                  <p:pic>
                    <p:nvPicPr>
                      <p:cNvPr id="1477" name="Object 45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79" name="Picture 2" descr="long_powerstrips.gif"/>
          <p:cNvPicPr>
            <a:picLocks noChangeAspect="1"/>
          </p:cNvPicPr>
          <p:nvPr userDrawn="1"/>
        </p:nvPicPr>
        <p:blipFill>
          <a:blip r:embed="rId17"/>
          <a:srcRect/>
          <a:stretch>
            <a:fillRect/>
          </a:stretch>
        </p:blipFill>
        <p:spPr bwMode="auto">
          <a:xfrm>
            <a:off x="88900" y="6362700"/>
            <a:ext cx="8966200" cy="403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8" name="Freeform 8"/>
          <p:cNvSpPr>
            <a:spLocks/>
          </p:cNvSpPr>
          <p:nvPr userDrawn="1"/>
        </p:nvSpPr>
        <p:spPr bwMode="auto">
          <a:xfrm>
            <a:off x="88900" y="114300"/>
            <a:ext cx="8966200" cy="711200"/>
          </a:xfrm>
          <a:custGeom>
            <a:avLst/>
            <a:gdLst>
              <a:gd name="T0" fmla="*/ 0 w 5376"/>
              <a:gd name="T1" fmla="*/ 0 h 3474"/>
              <a:gd name="T2" fmla="*/ 0 w 5376"/>
              <a:gd name="T3" fmla="*/ 2147483647 h 3474"/>
              <a:gd name="T4" fmla="*/ 2147483647 w 5376"/>
              <a:gd name="T5" fmla="*/ 2147483647 h 3474"/>
              <a:gd name="T6" fmla="*/ 2147483647 w 5376"/>
              <a:gd name="T7" fmla="*/ 2147483647 h 3474"/>
              <a:gd name="T8" fmla="*/ 2147483647 w 5376"/>
              <a:gd name="T9" fmla="*/ 2147483647 h 3474"/>
              <a:gd name="T10" fmla="*/ 2147483647 w 5376"/>
              <a:gd name="T11" fmla="*/ 2147483647 h 3474"/>
              <a:gd name="T12" fmla="*/ 2147483647 w 5376"/>
              <a:gd name="T13" fmla="*/ 0 h 3474"/>
              <a:gd name="T14" fmla="*/ 0 w 5376"/>
              <a:gd name="T15" fmla="*/ 0 h 3474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5376" h="3474">
                <a:moveTo>
                  <a:pt x="0" y="0"/>
                </a:moveTo>
                <a:lnTo>
                  <a:pt x="0" y="3474"/>
                </a:lnTo>
                <a:lnTo>
                  <a:pt x="941" y="3474"/>
                </a:lnTo>
                <a:lnTo>
                  <a:pt x="1081" y="3474"/>
                </a:lnTo>
                <a:lnTo>
                  <a:pt x="1210" y="3474"/>
                </a:lnTo>
                <a:lnTo>
                  <a:pt x="5376" y="3474"/>
                </a:lnTo>
                <a:lnTo>
                  <a:pt x="5376" y="0"/>
                </a:lnTo>
                <a:lnTo>
                  <a:pt x="0" y="0"/>
                </a:lnTo>
                <a:close/>
              </a:path>
            </a:pathLst>
          </a:custGeom>
          <a:solidFill>
            <a:srgbClr val="260F54"/>
          </a:solidFill>
          <a:ln>
            <a:noFill/>
          </a:ln>
          <a:effectLst/>
          <a:extLst/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srgbClr val="0059B4"/>
              </a:solidFill>
            </a:endParaRPr>
          </a:p>
        </p:txBody>
      </p:sp>
      <p:pic>
        <p:nvPicPr>
          <p:cNvPr id="1481" name="Picture 9"/>
          <p:cNvPicPr>
            <a:picLocks noChangeAspect="1" noChangeArrowheads="1"/>
          </p:cNvPicPr>
          <p:nvPr userDrawn="1"/>
        </p:nvPicPr>
        <p:blipFill>
          <a:blip r:embed="rId18"/>
          <a:srcRect/>
          <a:stretch>
            <a:fillRect/>
          </a:stretch>
        </p:blipFill>
        <p:spPr bwMode="auto">
          <a:xfrm>
            <a:off x="6997700" y="142875"/>
            <a:ext cx="1803400" cy="682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1809581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hf hd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+mj-lt"/>
          <a:ea typeface="ＭＳ Ｐゴシック"/>
          <a:cs typeface="ＭＳ Ｐゴシック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/>
          <a:cs typeface="ＭＳ Ｐゴシック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/>
          <a:cs typeface="ＭＳ Ｐゴシック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/>
          <a:cs typeface="ＭＳ Ｐゴシック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/>
          <a:cs typeface="ＭＳ Ｐゴシック"/>
        </a:defRPr>
      </a:lvl5pPr>
      <a:lvl6pPr marL="457200" algn="l" rtl="0" fontAlgn="base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34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34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34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34" charset="-128"/>
        </a:defRPr>
      </a:lvl9pPr>
    </p:titleStyle>
    <p:bodyStyle>
      <a:lvl1pPr marL="342900" indent="-342900" algn="l" rtl="0" eaLnBrk="0" fontAlgn="base" hangingPunct="0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2400">
          <a:solidFill>
            <a:srgbClr val="260F54"/>
          </a:solidFill>
          <a:latin typeface="+mn-lt"/>
          <a:ea typeface="ＭＳ Ｐゴシック"/>
          <a:cs typeface="ＭＳ Ｐゴシック"/>
        </a:defRPr>
      </a:lvl1pPr>
      <a:lvl2pPr marL="742950" indent="-285750" algn="l" rtl="0" eaLnBrk="0" fontAlgn="base" hangingPunct="0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2200">
          <a:solidFill>
            <a:srgbClr val="260F54"/>
          </a:solidFill>
          <a:latin typeface="+mn-lt"/>
          <a:ea typeface="ＭＳ Ｐゴシック"/>
          <a:cs typeface="ＭＳ Ｐゴシック"/>
        </a:defRPr>
      </a:lvl2pPr>
      <a:lvl3pPr marL="1143000" indent="-228600" algn="l" rtl="0" eaLnBrk="0" fontAlgn="base" hangingPunct="0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2000">
          <a:solidFill>
            <a:srgbClr val="260F54"/>
          </a:solidFill>
          <a:latin typeface="+mn-lt"/>
          <a:ea typeface="ＭＳ Ｐゴシック"/>
          <a:cs typeface="ＭＳ Ｐゴシック"/>
        </a:defRPr>
      </a:lvl3pPr>
      <a:lvl4pPr marL="1600200" indent="-228600" algn="l" rtl="0" eaLnBrk="0" fontAlgn="base" hangingPunct="0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>
          <a:solidFill>
            <a:srgbClr val="260F54"/>
          </a:solidFill>
          <a:latin typeface="+mn-lt"/>
          <a:ea typeface="ＭＳ Ｐゴシック"/>
          <a:cs typeface="ＭＳ Ｐゴシック"/>
        </a:defRPr>
      </a:lvl4pPr>
      <a:lvl5pPr marL="2057400" indent="-228600" algn="l" rtl="0" eaLnBrk="0" fontAlgn="base" hangingPunct="0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rgbClr val="260F54"/>
          </a:solidFill>
          <a:latin typeface="+mn-lt"/>
          <a:ea typeface="ＭＳ Ｐゴシック"/>
          <a:cs typeface="ＭＳ Ｐゴシック"/>
        </a:defRPr>
      </a:lvl5pPr>
      <a:lvl6pPr marL="2514600" indent="-228600" algn="l" rtl="0" fontAlgn="base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rgbClr val="260F54"/>
          </a:solidFill>
          <a:latin typeface="+mn-lt"/>
          <a:ea typeface="+mn-ea"/>
        </a:defRPr>
      </a:lvl6pPr>
      <a:lvl7pPr marL="2971800" indent="-228600" algn="l" rtl="0" fontAlgn="base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rgbClr val="260F54"/>
          </a:solidFill>
          <a:latin typeface="+mn-lt"/>
          <a:ea typeface="+mn-ea"/>
        </a:defRPr>
      </a:lvl7pPr>
      <a:lvl8pPr marL="3429000" indent="-228600" algn="l" rtl="0" fontAlgn="base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rgbClr val="260F54"/>
          </a:solidFill>
          <a:latin typeface="+mn-lt"/>
          <a:ea typeface="+mn-ea"/>
        </a:defRPr>
      </a:lvl8pPr>
      <a:lvl9pPr marL="3886200" indent="-228600" algn="l" rtl="0" fontAlgn="base">
        <a:spcBef>
          <a:spcPct val="0"/>
        </a:spcBef>
        <a:spcAft>
          <a:spcPct val="50000"/>
        </a:spcAft>
        <a:buClr>
          <a:srgbClr val="0079C1"/>
        </a:buClr>
        <a:buFont typeface="Wingdings 2" pitchFamily="18" charset="2"/>
        <a:buChar char="¾"/>
        <a:defRPr sz="1600">
          <a:solidFill>
            <a:srgbClr val="260F54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5.emf"/><Relationship Id="rId5" Type="http://schemas.openxmlformats.org/officeDocument/2006/relationships/package" Target="../embeddings/Microsoft_Excel_Worksheet.xlsx"/><Relationship Id="rId4" Type="http://schemas.openxmlformats.org/officeDocument/2006/relationships/image" Target="../media/image7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53667" name="Picture 19" descr="NG_LIBRARY_US_D4-226_T_RGB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60837" y="2950478"/>
            <a:ext cx="2314575" cy="1744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extBox 1"/>
          <p:cNvSpPr txBox="1"/>
          <p:nvPr/>
        </p:nvSpPr>
        <p:spPr>
          <a:xfrm>
            <a:off x="483779" y="5118772"/>
            <a:ext cx="76073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prstClr val="white"/>
                </a:solidFill>
                <a:latin typeface="Arial"/>
                <a:ea typeface="ＭＳ Ｐゴシック"/>
              </a:rPr>
              <a:t>September 17-18, 2019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BA31AFB-FE81-46DD-A09F-CF1E4AAF87AD}"/>
              </a:ext>
            </a:extLst>
          </p:cNvPr>
          <p:cNvSpPr txBox="1"/>
          <p:nvPr/>
        </p:nvSpPr>
        <p:spPr>
          <a:xfrm>
            <a:off x="483779" y="769743"/>
            <a:ext cx="3224155" cy="11387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Customer Sales &amp; Solutions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prstClr val="white"/>
                </a:solidFill>
                <a:latin typeface="Arial"/>
                <a:ea typeface="ＭＳ Ｐゴシック"/>
              </a:rPr>
              <a:t>New York / New England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Saratoga Springs, NY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C7DB085-8CD9-43AD-9DD2-8D8D963EF19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E57FE169-72A0-48D0-995C-FDBAA426B4C2}" type="slidenum">
              <a:rPr lang="en-US" smtClean="0">
                <a:solidFill>
                  <a:srgbClr val="0059B4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</a:t>
            </a:fld>
            <a:endParaRPr lang="en-US" dirty="0">
              <a:solidFill>
                <a:srgbClr val="0059B4"/>
              </a:solidFill>
            </a:endParaRPr>
          </a:p>
        </p:txBody>
      </p:sp>
      <p:sp>
        <p:nvSpPr>
          <p:cNvPr id="7" name="Date Placeholder 1">
            <a:extLst>
              <a:ext uri="{FF2B5EF4-FFF2-40B4-BE49-F238E27FC236}">
                <a16:creationId xmlns:a16="http://schemas.microsoft.com/office/drawing/2014/main" id="{36574302-7CDA-453F-8CE2-7717B45D9C8F}"/>
              </a:ext>
            </a:extLst>
          </p:cNvPr>
          <p:cNvSpPr txBox="1">
            <a:spLocks/>
          </p:cNvSpPr>
          <p:nvPr/>
        </p:nvSpPr>
        <p:spPr>
          <a:xfrm>
            <a:off x="7835188" y="5744834"/>
            <a:ext cx="1133856" cy="300846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ctr" defTabSz="4572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74E319-830C-47EA-AD22-04E3C7B34E8B}" type="datetime9">
              <a:rPr lang="en-US" sz="800" b="1" smtClean="0">
                <a:solidFill>
                  <a:srgbClr val="FFFF00"/>
                </a:solidFill>
              </a:rPr>
              <a:pPr/>
              <a:t>9/10/2019 8:35:51 AM</a:t>
            </a:fld>
            <a:endParaRPr lang="en-US" sz="800" b="1" dirty="0">
              <a:solidFill>
                <a:srgbClr val="FFFF00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87319C7-A619-4F13-91AF-100A783E95E8}"/>
              </a:ext>
            </a:extLst>
          </p:cNvPr>
          <p:cNvSpPr txBox="1"/>
          <p:nvPr/>
        </p:nvSpPr>
        <p:spPr>
          <a:xfrm>
            <a:off x="3858936" y="2491530"/>
            <a:ext cx="3707105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200" dirty="0">
                <a:solidFill>
                  <a:schemeClr val="bg1"/>
                </a:solidFill>
              </a:rPr>
              <a:t>Offsite Agenda</a:t>
            </a:r>
          </a:p>
        </p:txBody>
      </p:sp>
    </p:spTree>
    <p:extLst>
      <p:ext uri="{BB962C8B-B14F-4D97-AF65-F5344CB8AC3E}">
        <p14:creationId xmlns:p14="http://schemas.microsoft.com/office/powerpoint/2010/main" val="180429746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4126D422-19E5-4657-A242-331824BB24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41CDB6-91B1-401D-BCBB-B5223F0FB401}" type="slidenum">
              <a:rPr lang="en-US" smtClean="0"/>
              <a:t>2</a:t>
            </a:fld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0B268763-C839-4B45-9F53-54B209C8527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6344" y="107768"/>
            <a:ext cx="8154162" cy="761967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540573A5-588A-48F3-B434-1B43CA45C915}"/>
              </a:ext>
            </a:extLst>
          </p:cNvPr>
          <p:cNvSpPr txBox="1"/>
          <p:nvPr/>
        </p:nvSpPr>
        <p:spPr>
          <a:xfrm>
            <a:off x="481197" y="105423"/>
            <a:ext cx="268716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>
                <a:solidFill>
                  <a:schemeClr val="lt1"/>
                </a:solidFill>
                <a:latin typeface="Comic Sans MS" panose="030F0702030302020204" pitchFamily="66" charset="0"/>
              </a:rPr>
              <a:t>Customer Sales &amp; Solutions Offsite</a:t>
            </a:r>
          </a:p>
          <a:p>
            <a:r>
              <a:rPr lang="en-US" sz="1000" b="1" dirty="0">
                <a:solidFill>
                  <a:schemeClr val="lt1"/>
                </a:solidFill>
                <a:latin typeface="Comic Sans MS" panose="030F0702030302020204" pitchFamily="66" charset="0"/>
              </a:rPr>
              <a:t>New York / New England </a:t>
            </a:r>
          </a:p>
          <a:p>
            <a:r>
              <a:rPr lang="en-US" sz="1000" b="1" dirty="0">
                <a:solidFill>
                  <a:schemeClr val="lt1"/>
                </a:solidFill>
                <a:latin typeface="Comic Sans MS" panose="030F0702030302020204" pitchFamily="66" charset="0"/>
              </a:rPr>
              <a:t>September 17-18, 2019</a:t>
            </a:r>
          </a:p>
          <a:p>
            <a:r>
              <a:rPr lang="en-US" sz="1000" b="1" dirty="0">
                <a:solidFill>
                  <a:schemeClr val="lt1"/>
                </a:solidFill>
                <a:latin typeface="Comic Sans MS" panose="030F0702030302020204" pitchFamily="66" charset="0"/>
              </a:rPr>
              <a:t>Day 1 Agend</a:t>
            </a:r>
            <a:r>
              <a:rPr lang="en-US" sz="900" b="1" dirty="0">
                <a:solidFill>
                  <a:schemeClr val="lt1"/>
                </a:solidFill>
                <a:latin typeface="Comic Sans MS" panose="030F0702030302020204" pitchFamily="66" charset="0"/>
              </a:rPr>
              <a:t>a</a:t>
            </a:r>
            <a:endParaRPr lang="en-US" sz="1200" dirty="0">
              <a:latin typeface="Comic Sans MS" panose="030F0702030302020204" pitchFamily="66" charset="0"/>
            </a:endParaRPr>
          </a:p>
        </p:txBody>
      </p:sp>
      <p:pic>
        <p:nvPicPr>
          <p:cNvPr id="12" name="Picture 11" descr="C:\Users\newcok\AppData\Local\Microsoft\Windows\Temporary Internet Files\Content.Word\energy_lines.jpg">
            <a:extLst>
              <a:ext uri="{FF2B5EF4-FFF2-40B4-BE49-F238E27FC236}">
                <a16:creationId xmlns:a16="http://schemas.microsoft.com/office/drawing/2014/main" id="{E4844580-1539-4D4E-9E17-E05E387C6B77}"/>
              </a:ext>
            </a:extLst>
          </p:cNvPr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1521" y="6274708"/>
            <a:ext cx="6843327" cy="342692"/>
          </a:xfrm>
          <a:prstGeom prst="rect">
            <a:avLst/>
          </a:prstGeom>
          <a:noFill/>
          <a:ln>
            <a:noFill/>
          </a:ln>
        </p:spPr>
      </p:pic>
      <p:sp>
        <p:nvSpPr>
          <p:cNvPr id="13" name="Date Placeholder 1">
            <a:extLst>
              <a:ext uri="{FF2B5EF4-FFF2-40B4-BE49-F238E27FC236}">
                <a16:creationId xmlns:a16="http://schemas.microsoft.com/office/drawing/2014/main" id="{CE937177-5DC5-487B-B467-DF9A9E55B19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087737" y="6110425"/>
            <a:ext cx="1133856" cy="300846"/>
          </a:xfrm>
        </p:spPr>
        <p:txBody>
          <a:bodyPr/>
          <a:lstStyle/>
          <a:p>
            <a:fld id="{E574E319-830C-47EA-AD22-04E3C7B34E8B}" type="datetime9">
              <a:rPr lang="en-US" sz="800" smtClean="0"/>
              <a:t>9/10/2019 8:35:54 AM</a:t>
            </a:fld>
            <a:endParaRPr lang="en-US" sz="800" dirty="0"/>
          </a:p>
        </p:txBody>
      </p:sp>
      <p:graphicFrame>
        <p:nvGraphicFramePr>
          <p:cNvPr id="3" name="Object 2">
            <a:extLst>
              <a:ext uri="{FF2B5EF4-FFF2-40B4-BE49-F238E27FC236}">
                <a16:creationId xmlns:a16="http://schemas.microsoft.com/office/drawing/2014/main" id="{87154E80-724A-45EC-AE8A-1C854FADB0FE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669599212"/>
              </p:ext>
            </p:extLst>
          </p:nvPr>
        </p:nvGraphicFramePr>
        <p:xfrm>
          <a:off x="1239838" y="911225"/>
          <a:ext cx="6119812" cy="56086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5" name="Worksheet" r:id="rId5" imgW="6858118" imgH="6286483" progId="Excel.Sheet.12">
                  <p:embed/>
                </p:oleObj>
              </mc:Choice>
              <mc:Fallback>
                <p:oleObj name="Worksheet" r:id="rId5" imgW="6858118" imgH="6286483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39838" y="911225"/>
                        <a:ext cx="6119812" cy="560863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5963398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92D02A11-2F64-4887-9F43-35A53180AE4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41291547"/>
              </p:ext>
            </p:extLst>
          </p:nvPr>
        </p:nvGraphicFramePr>
        <p:xfrm>
          <a:off x="628650" y="841057"/>
          <a:ext cx="7886699" cy="5633953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423627">
                  <a:extLst>
                    <a:ext uri="{9D8B030D-6E8A-4147-A177-3AD203B41FA5}">
                      <a16:colId xmlns:a16="http://schemas.microsoft.com/office/drawing/2014/main" val="3066262150"/>
                    </a:ext>
                  </a:extLst>
                </a:gridCol>
                <a:gridCol w="5463072">
                  <a:extLst>
                    <a:ext uri="{9D8B030D-6E8A-4147-A177-3AD203B41FA5}">
                      <a16:colId xmlns:a16="http://schemas.microsoft.com/office/drawing/2014/main" val="1369139686"/>
                    </a:ext>
                  </a:extLst>
                </a:gridCol>
              </a:tblGrid>
              <a:tr h="563894">
                <a:tc gridSpan="2">
                  <a:txBody>
                    <a:bodyPr/>
                    <a:lstStyle/>
                    <a:p>
                      <a:pPr algn="ctr"/>
                      <a:r>
                        <a:rPr lang="en-US" sz="1300" b="1" kern="1200" dirty="0">
                          <a:solidFill>
                            <a:schemeClr val="lt1"/>
                          </a:solidFill>
                          <a:effectLst/>
                          <a:latin typeface="Comic Sans MS" panose="030F0702030302020204" pitchFamily="66" charset="0"/>
                          <a:ea typeface="+mn-ea"/>
                          <a:cs typeface="+mn-cs"/>
                        </a:rPr>
                        <a:t>Day 2 Agenda</a:t>
                      </a:r>
                    </a:p>
                    <a:p>
                      <a:pPr algn="ctr"/>
                      <a:r>
                        <a:rPr lang="en-US" sz="1300" b="1" kern="1200" dirty="0">
                          <a:solidFill>
                            <a:schemeClr val="lt1"/>
                          </a:solidFill>
                          <a:effectLst/>
                          <a:latin typeface="Comic Sans MS" panose="030F0702030302020204" pitchFamily="66" charset="0"/>
                          <a:ea typeface="+mn-ea"/>
                          <a:cs typeface="+mn-cs"/>
                        </a:rPr>
                        <a:t>9/18/2019</a:t>
                      </a:r>
                      <a:endParaRPr lang="en-US" sz="1300" dirty="0">
                        <a:latin typeface="Comic Sans MS" panose="030F0702030302020204" pitchFamily="66" charset="0"/>
                      </a:endParaRPr>
                    </a:p>
                  </a:txBody>
                  <a:tcPr marL="94204" marR="94204" marT="47102" marB="47102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59306730"/>
                  </a:ext>
                </a:extLst>
              </a:tr>
              <a:tr h="201060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b="0" dirty="0">
                        <a:effectLst/>
                        <a:latin typeface="Comic Sans MS" panose="030F0702030302020204" pitchFamily="66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9185" marR="49185" marT="0" marB="0"/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b="0" dirty="0">
                        <a:effectLst/>
                        <a:latin typeface="Comic Sans MS" panose="030F0702030302020204" pitchFamily="66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22984424"/>
                  </a:ext>
                </a:extLst>
              </a:tr>
              <a:tr h="204373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0" dirty="0">
                          <a:effectLst/>
                          <a:latin typeface="Comic Sans MS" panose="030F0702030302020204" pitchFamily="66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7:30 AM – 8:30 AM</a:t>
                      </a:r>
                      <a:endParaRPr lang="en-US" sz="1100" b="0" dirty="0">
                        <a:effectLst/>
                        <a:latin typeface="Comic Sans MS" panose="030F0702030302020204" pitchFamily="66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9185" marR="49185" marT="0" marB="0"/>
                </a:tc>
                <a:tc>
                  <a:txBody>
                    <a:bodyPr/>
                    <a:lstStyle/>
                    <a:p>
                      <a:pPr marL="0" marR="0" indent="53975" algn="l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0" kern="1200" dirty="0">
                          <a:solidFill>
                            <a:schemeClr val="dk1"/>
                          </a:solidFill>
                          <a:effectLst/>
                          <a:latin typeface="Comic Sans MS" panose="030F0702030302020204" pitchFamily="66" charset="0"/>
                          <a:ea typeface="+mn-ea"/>
                          <a:cs typeface="+mn-cs"/>
                        </a:rPr>
                        <a:t>Breakfast Buffet</a:t>
                      </a:r>
                      <a:r>
                        <a:rPr lang="en-US" sz="1100" b="0" dirty="0">
                          <a:effectLst/>
                          <a:latin typeface="Comic Sans MS" panose="030F0702030302020204" pitchFamily="66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(In the Vapor Lounge area)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049175409"/>
                  </a:ext>
                </a:extLst>
              </a:tr>
              <a:tr h="204373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b="0" dirty="0">
                        <a:effectLst/>
                        <a:latin typeface="Comic Sans MS" panose="030F0702030302020204" pitchFamily="66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9185" marR="49185" marT="0" marB="0"/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b="0" dirty="0">
                        <a:effectLst/>
                        <a:latin typeface="Comic Sans MS" panose="030F0702030302020204" pitchFamily="66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764747919"/>
                  </a:ext>
                </a:extLst>
              </a:tr>
              <a:tr h="416831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0" dirty="0">
                          <a:effectLst/>
                          <a:latin typeface="Comic Sans MS" panose="030F0702030302020204" pitchFamily="66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8:30 AM – 8:35AM</a:t>
                      </a:r>
                    </a:p>
                  </a:txBody>
                  <a:tcPr marL="49185" marR="49185" marT="0" marB="0"/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0" i="0" dirty="0">
                          <a:solidFill>
                            <a:schemeClr val="tx1"/>
                          </a:solidFill>
                          <a:effectLst/>
                          <a:latin typeface="Comic Sans MS" panose="030F0702030302020204" pitchFamily="66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Opening Message (Dave and Keith) and Safety Message (Kevin - Distracted Driving) (In Vapor Lounge)</a:t>
                      </a:r>
                      <a:endParaRPr lang="en-US" sz="1100" b="0" i="0" dirty="0">
                        <a:solidFill>
                          <a:schemeClr val="tx1"/>
                        </a:solidFill>
                        <a:effectLst/>
                        <a:latin typeface="Comic Sans MS" panose="030F0702030302020204" pitchFamily="66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9185" marR="49185" marT="0" marB="0"/>
                </a:tc>
                <a:extLst>
                  <a:ext uri="{0D108BD9-81ED-4DB2-BD59-A6C34878D82A}">
                    <a16:rowId xmlns:a16="http://schemas.microsoft.com/office/drawing/2014/main" val="440355675"/>
                  </a:ext>
                </a:extLst>
              </a:tr>
              <a:tr h="204373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b="0" dirty="0">
                        <a:effectLst/>
                        <a:latin typeface="Comic Sans MS" panose="030F0702030302020204" pitchFamily="66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9185" marR="49185" marT="0" marB="0"/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b="0" dirty="0">
                        <a:effectLst/>
                        <a:latin typeface="Comic Sans MS" panose="030F0702030302020204" pitchFamily="66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962525249"/>
                  </a:ext>
                </a:extLst>
              </a:tr>
              <a:tr h="20155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omic Sans MS" panose="030F0702030302020204" pitchFamily="66" charset="0"/>
                        </a:rPr>
                        <a:t>8:35 AM to 9:20 AM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omic Sans MS" panose="030F0702030302020204" pitchFamily="66" charset="0"/>
                        </a:rPr>
                        <a:t> Megan Piccarreto -  Gas Business Enablement (In Vapor Lounge)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856826443"/>
                  </a:ext>
                </a:extLst>
              </a:tr>
              <a:tr h="204373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b="0" dirty="0">
                        <a:effectLst/>
                        <a:latin typeface="Comic Sans MS" panose="030F0702030302020204" pitchFamily="66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9185" marR="49185" marT="0" marB="0"/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b="0" dirty="0">
                        <a:effectLst/>
                        <a:latin typeface="Comic Sans MS" panose="030F0702030302020204" pitchFamily="66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655010911"/>
                  </a:ext>
                </a:extLst>
              </a:tr>
              <a:tr h="20155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omic Sans MS" panose="030F0702030302020204" pitchFamily="66" charset="0"/>
                        </a:rPr>
                        <a:t>9:20AM to 9:45 AM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omic Sans MS" panose="030F0702030302020204" pitchFamily="66" charset="0"/>
                        </a:rPr>
                        <a:t> Break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693307375"/>
                  </a:ext>
                </a:extLst>
              </a:tr>
              <a:tr h="201556"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anose="030F0702030302020204" pitchFamily="66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anose="030F0702030302020204" pitchFamily="66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261314479"/>
                  </a:ext>
                </a:extLst>
              </a:tr>
              <a:tr h="76116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omic Sans MS" panose="030F0702030302020204" pitchFamily="66" charset="0"/>
                        </a:rPr>
                        <a:t>9:45AM to 11:00 AM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dirty="0">
                          <a:effectLst/>
                          <a:latin typeface="Comic Sans MS" panose="030F0702030302020204" pitchFamily="66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uture of CEM Panel Discussion: Jake Navarro (Director of Commercial Portfolio Performance), Brandon Dyer (NY CEM), Joshua Paradise (Director of Transportation), Ezra McCarthy (NE CEM) and John Rei (Director of DER) (Location: Vapor Lounge)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487082559"/>
                  </a:ext>
                </a:extLst>
              </a:tr>
              <a:tr h="201556">
                <a:tc>
                  <a:txBody>
                    <a:bodyPr/>
                    <a:lstStyle/>
                    <a:p>
                      <a:endParaRPr lang="en-US" sz="1100" dirty="0">
                        <a:latin typeface="Comic Sans MS" panose="030F0702030302020204" pitchFamily="66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Comic Sans MS" panose="030F0702030302020204" pitchFamily="66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24797768"/>
                  </a:ext>
                </a:extLst>
              </a:tr>
              <a:tr h="38591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dirty="0">
                          <a:effectLst/>
                          <a:latin typeface="Comic Sans MS" panose="030F0702030302020204" pitchFamily="66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1:00 AM – 11:30 AM </a:t>
                      </a:r>
                      <a:endParaRPr lang="en-US" sz="1100" dirty="0">
                        <a:latin typeface="Comic Sans MS" panose="030F0702030302020204" pitchFamily="66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latin typeface="Comic Sans MS" panose="030F0702030302020204" pitchFamily="66" charset="0"/>
                        </a:rPr>
                        <a:t> Check out (or earlier in the day if you wish) – bring luggage to cars or bell hop, change into race attire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73132950"/>
                  </a:ext>
                </a:extLst>
              </a:tr>
              <a:tr h="20155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dirty="0">
                          <a:effectLst/>
                          <a:latin typeface="Comic Sans MS" panose="030F0702030302020204" pitchFamily="66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</a:p>
                  </a:txBody>
                  <a:tcPr marL="49185" marR="49185" marT="0" marB="0"/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omic Sans MS" panose="030F0702030302020204" pitchFamily="66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93909540"/>
                  </a:ext>
                </a:extLst>
              </a:tr>
              <a:tr h="38591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omic Sans MS" panose="030F0702030302020204" pitchFamily="66" charset="0"/>
                        </a:rPr>
                        <a:t>11:30 AM to 1:30 PM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omic Sans MS" panose="030F0702030302020204" pitchFamily="66" charset="0"/>
                        </a:rPr>
                        <a:t> Lunch/Horse Race (Wear race attire, raffle drawing) (Location: Fortunes Restaurant)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505403297"/>
                  </a:ext>
                </a:extLst>
              </a:tr>
              <a:tr h="204373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b="0" dirty="0">
                        <a:effectLst/>
                        <a:latin typeface="Comic Sans MS" panose="030F0702030302020204" pitchFamily="66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9185" marR="49185" marT="0" marB="0"/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b="0" dirty="0">
                        <a:effectLst/>
                        <a:latin typeface="Comic Sans MS" panose="030F0702030302020204" pitchFamily="66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027412658"/>
                  </a:ext>
                </a:extLst>
              </a:tr>
              <a:tr h="381438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0" dirty="0">
                          <a:effectLst/>
                          <a:latin typeface="Comic Sans MS" panose="030F0702030302020204" pitchFamily="66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:30 PM – 3:30 PM </a:t>
                      </a:r>
                    </a:p>
                  </a:txBody>
                  <a:tcPr marL="49185" marR="49185" marT="0" marB="0"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latin typeface="Comic Sans MS" panose="030F0702030302020204" pitchFamily="66" charset="0"/>
                        </a:rPr>
                        <a:t> Carpool Raffle Drawing then Team Building Activities (in Vapor Lounge)</a:t>
                      </a:r>
                    </a:p>
                    <a:p>
                      <a:r>
                        <a:rPr lang="en-US" sz="1100" b="1" i="1" dirty="0">
                          <a:solidFill>
                            <a:srgbClr val="FF0000"/>
                          </a:solidFill>
                          <a:latin typeface="Comic Sans MS" panose="030F0702030302020204" pitchFamily="66" charset="0"/>
                        </a:rPr>
                        <a:t> Minute 2 Win It!</a:t>
                      </a:r>
                      <a:endParaRPr lang="en-US" sz="900" b="1" i="1" dirty="0">
                        <a:solidFill>
                          <a:srgbClr val="FF0000"/>
                        </a:solidFill>
                        <a:latin typeface="Comic Sans MS" panose="030F0702030302020204" pitchFamily="66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105651650"/>
                  </a:ext>
                </a:extLst>
              </a:tr>
              <a:tr h="307026"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 marL="49185" marR="49185" marT="0" marB="0"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164723787"/>
                  </a:ext>
                </a:extLst>
              </a:tr>
              <a:tr h="201060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0" dirty="0">
                          <a:effectLst/>
                          <a:latin typeface="Comic Sans MS" panose="030F0702030302020204" pitchFamily="66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:30 PM - 3:40 PM </a:t>
                      </a:r>
                    </a:p>
                  </a:txBody>
                  <a:tcPr marL="49185" marR="49185" marT="0" marB="0"/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0" dirty="0">
                          <a:effectLst/>
                          <a:latin typeface="Comic Sans MS" panose="030F0702030302020204" pitchFamily="66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John Isberg – Wrap Up</a:t>
                      </a:r>
                      <a:endParaRPr lang="en-US" sz="1100" b="1" i="1" dirty="0">
                        <a:solidFill>
                          <a:srgbClr val="FF0000"/>
                        </a:solidFill>
                        <a:latin typeface="Comic Sans MS" panose="030F0702030302020204" pitchFamily="66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14933566"/>
                  </a:ext>
                </a:extLst>
              </a:tr>
            </a:tbl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9F59B79-7BB3-4B8F-B158-4736D2135D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41CDB6-91B1-401D-BCBB-B5223F0FB401}" type="slidenum">
              <a:rPr lang="en-US" smtClean="0"/>
              <a:t>3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BEE4F0F-1C85-4A59-89EA-A0B1AF2467D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6344" y="107768"/>
            <a:ext cx="8154162" cy="725351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A7E646A5-B1AA-483C-9C97-90DF35A8C1EE}"/>
              </a:ext>
            </a:extLst>
          </p:cNvPr>
          <p:cNvSpPr txBox="1"/>
          <p:nvPr/>
        </p:nvSpPr>
        <p:spPr>
          <a:xfrm>
            <a:off x="497367" y="99831"/>
            <a:ext cx="268716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>
                <a:solidFill>
                  <a:schemeClr val="lt1"/>
                </a:solidFill>
                <a:latin typeface="Comic Sans MS" panose="030F0702030302020204" pitchFamily="66" charset="0"/>
              </a:rPr>
              <a:t>Customer Sales &amp; Solutions Offsite</a:t>
            </a:r>
          </a:p>
          <a:p>
            <a:r>
              <a:rPr lang="en-US" sz="1000" b="1" dirty="0">
                <a:solidFill>
                  <a:schemeClr val="lt1"/>
                </a:solidFill>
                <a:latin typeface="Comic Sans MS" panose="030F0702030302020204" pitchFamily="66" charset="0"/>
              </a:rPr>
              <a:t>New York / New England </a:t>
            </a:r>
          </a:p>
          <a:p>
            <a:r>
              <a:rPr lang="en-US" sz="1000" b="1" dirty="0">
                <a:solidFill>
                  <a:schemeClr val="lt1"/>
                </a:solidFill>
                <a:latin typeface="Comic Sans MS" panose="030F0702030302020204" pitchFamily="66" charset="0"/>
              </a:rPr>
              <a:t>September 17-18, 2019</a:t>
            </a:r>
          </a:p>
          <a:p>
            <a:r>
              <a:rPr lang="en-US" sz="1000" b="1" dirty="0">
                <a:solidFill>
                  <a:schemeClr val="lt1"/>
                </a:solidFill>
                <a:latin typeface="Comic Sans MS" panose="030F0702030302020204" pitchFamily="66" charset="0"/>
              </a:rPr>
              <a:t>Day 2 Agenda</a:t>
            </a:r>
            <a:endParaRPr lang="en-US" sz="1000" dirty="0">
              <a:latin typeface="Comic Sans MS" panose="030F0702030302020204" pitchFamily="66" charset="0"/>
            </a:endParaRPr>
          </a:p>
          <a:p>
            <a:endParaRPr lang="en-US" sz="1200" dirty="0">
              <a:latin typeface="Comic Sans MS" panose="030F0702030302020204" pitchFamily="66" charset="0"/>
            </a:endParaRPr>
          </a:p>
        </p:txBody>
      </p:sp>
      <p:sp>
        <p:nvSpPr>
          <p:cNvPr id="13" name="Date Placeholder 1">
            <a:extLst>
              <a:ext uri="{FF2B5EF4-FFF2-40B4-BE49-F238E27FC236}">
                <a16:creationId xmlns:a16="http://schemas.microsoft.com/office/drawing/2014/main" id="{451AF812-B0AC-4915-98AF-9C03D35DC19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087737" y="6110425"/>
            <a:ext cx="1133856" cy="300846"/>
          </a:xfrm>
        </p:spPr>
        <p:txBody>
          <a:bodyPr/>
          <a:lstStyle/>
          <a:p>
            <a:fld id="{E574E319-830C-47EA-AD22-04E3C7B34E8B}" type="datetime9">
              <a:rPr lang="en-US" sz="800" smtClean="0"/>
              <a:t>9/10/2019 8:35:54 AM</a:t>
            </a:fld>
            <a:endParaRPr lang="en-US" sz="800" dirty="0"/>
          </a:p>
        </p:txBody>
      </p:sp>
      <p:pic>
        <p:nvPicPr>
          <p:cNvPr id="14" name="Picture 13" descr="C:\Users\newcok\AppData\Local\Microsoft\Windows\Temporary Internet Files\Content.Word\energy_lines.jpg">
            <a:extLst>
              <a:ext uri="{FF2B5EF4-FFF2-40B4-BE49-F238E27FC236}">
                <a16:creationId xmlns:a16="http://schemas.microsoft.com/office/drawing/2014/main" id="{F1E5222B-8A7D-47A7-AB66-9427D1030793}"/>
              </a:ext>
            </a:extLst>
          </p:cNvPr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1521" y="6475009"/>
            <a:ext cx="6843327" cy="3426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91793194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national_grid[2]">
  <a:themeElements>
    <a:clrScheme name="Civic">
      <a:dk1>
        <a:sysClr val="windowText" lastClr="000000"/>
      </a:dk1>
      <a:lt1>
        <a:sysClr val="window" lastClr="FFFFFF"/>
      </a:lt1>
      <a:dk2>
        <a:srgbClr val="646B86"/>
      </a:dk2>
      <a:lt2>
        <a:srgbClr val="C5D1D7"/>
      </a:lt2>
      <a:accent1>
        <a:srgbClr val="D16349"/>
      </a:accent1>
      <a:accent2>
        <a:srgbClr val="CCB400"/>
      </a:accent2>
      <a:accent3>
        <a:srgbClr val="8CADAE"/>
      </a:accent3>
      <a:accent4>
        <a:srgbClr val="8C7B70"/>
      </a:accent4>
      <a:accent5>
        <a:srgbClr val="8FB08C"/>
      </a:accent5>
      <a:accent6>
        <a:srgbClr val="D19049"/>
      </a:accent6>
      <a:hlink>
        <a:srgbClr val="00A3D6"/>
      </a:hlink>
      <a:folHlink>
        <a:srgbClr val="694F07"/>
      </a:folHlink>
    </a:clrScheme>
    <a:fontScheme name="national_grid[2]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800" b="0" i="0" u="none" strike="noStrike" cap="none" normalizeH="0" baseline="0" smtClean="0">
            <a:ln>
              <a:noFill/>
            </a:ln>
            <a:solidFill>
              <a:srgbClr val="0059B4"/>
            </a:solidFill>
            <a:effectLst/>
            <a:latin typeface="Arial" charset="0"/>
            <a:ea typeface="ＭＳ Ｐゴシック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800" b="0" i="0" u="none" strike="noStrike" cap="none" normalizeH="0" baseline="0" smtClean="0">
            <a:ln>
              <a:noFill/>
            </a:ln>
            <a:solidFill>
              <a:srgbClr val="0059B4"/>
            </a:solidFill>
            <a:effectLst/>
            <a:latin typeface="Arial" charset="0"/>
            <a:ea typeface="ＭＳ Ｐゴシック" pitchFamily="34" charset="-128"/>
          </a:defRPr>
        </a:defPPr>
      </a:lstStyle>
    </a:lnDef>
  </a:objectDefaults>
  <a:extraClrSchemeLst>
    <a:extraClrScheme>
      <a:clrScheme name="national_grid[2]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ED9"/>
        </a:accent1>
        <a:accent2>
          <a:srgbClr val="52DA3F"/>
        </a:accent2>
        <a:accent3>
          <a:srgbClr val="FFFFFF"/>
        </a:accent3>
        <a:accent4>
          <a:srgbClr val="000000"/>
        </a:accent4>
        <a:accent5>
          <a:srgbClr val="AAD3E9"/>
        </a:accent5>
        <a:accent6>
          <a:srgbClr val="49C538"/>
        </a:accent6>
        <a:hlink>
          <a:srgbClr val="FF7800"/>
        </a:hlink>
        <a:folHlink>
          <a:srgbClr val="00B09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3068</TotalTime>
  <Words>261</Words>
  <Application>Microsoft Office PowerPoint</Application>
  <PresentationFormat>On-screen Show (4:3)</PresentationFormat>
  <Paragraphs>41</Paragraphs>
  <Slides>3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3</vt:i4>
      </vt:variant>
    </vt:vector>
  </HeadingPairs>
  <TitlesOfParts>
    <vt:vector size="16" baseType="lpstr">
      <vt:lpstr>MS PGothic</vt:lpstr>
      <vt:lpstr>MS PGothic</vt:lpstr>
      <vt:lpstr>Arial</vt:lpstr>
      <vt:lpstr>Calibri</vt:lpstr>
      <vt:lpstr>Calibri Light</vt:lpstr>
      <vt:lpstr>Comic Sans MS</vt:lpstr>
      <vt:lpstr>Times New Roman</vt:lpstr>
      <vt:lpstr>Wingdings</vt:lpstr>
      <vt:lpstr>Wingdings 2</vt:lpstr>
      <vt:lpstr>Office Theme</vt:lpstr>
      <vt:lpstr>national_grid[2]</vt:lpstr>
      <vt:lpstr>think-cell Slide</vt:lpstr>
      <vt:lpstr>Worksheet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t. Cyr, Sherryl</dc:creator>
  <cp:lastModifiedBy>Parsons, Jennifer</cp:lastModifiedBy>
  <cp:revision>103</cp:revision>
  <cp:lastPrinted>2019-07-23T13:56:05Z</cp:lastPrinted>
  <dcterms:created xsi:type="dcterms:W3CDTF">2019-06-10T14:46:53Z</dcterms:created>
  <dcterms:modified xsi:type="dcterms:W3CDTF">2019-09-10T13:02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  <property fmtid="{D5CDD505-2E9C-101B-9397-08002B2CF9AE}" pid="3" name="_AdHocReviewCycleID">
    <vt:i4>1783594344</vt:i4>
  </property>
  <property fmtid="{D5CDD505-2E9C-101B-9397-08002B2CF9AE}" pid="4" name="_EmailSubject">
    <vt:lpwstr>Final Offsite Agenda</vt:lpwstr>
  </property>
  <property fmtid="{D5CDD505-2E9C-101B-9397-08002B2CF9AE}" pid="5" name="_AuthorEmail">
    <vt:lpwstr>Jennifer.Parsons@nationalgrid.com</vt:lpwstr>
  </property>
  <property fmtid="{D5CDD505-2E9C-101B-9397-08002B2CF9AE}" pid="6" name="_AuthorEmailDisplayName">
    <vt:lpwstr>Parsons, Jennifer</vt:lpwstr>
  </property>
</Properties>
</file>